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34"/>
  </p:notesMasterIdLst>
  <p:sldIdLst>
    <p:sldId id="256" r:id="rId4"/>
    <p:sldId id="258" r:id="rId5"/>
    <p:sldId id="259" r:id="rId6"/>
    <p:sldId id="287" r:id="rId7"/>
    <p:sldId id="290" r:id="rId8"/>
    <p:sldId id="929" r:id="rId9"/>
    <p:sldId id="930" r:id="rId10"/>
    <p:sldId id="931" r:id="rId11"/>
    <p:sldId id="932" r:id="rId12"/>
    <p:sldId id="933" r:id="rId13"/>
    <p:sldId id="934" r:id="rId14"/>
    <p:sldId id="935" r:id="rId15"/>
    <p:sldId id="936" r:id="rId16"/>
    <p:sldId id="949" r:id="rId17"/>
    <p:sldId id="938" r:id="rId18"/>
    <p:sldId id="939" r:id="rId19"/>
    <p:sldId id="940" r:id="rId20"/>
    <p:sldId id="941" r:id="rId21"/>
    <p:sldId id="943" r:id="rId22"/>
    <p:sldId id="942" r:id="rId23"/>
    <p:sldId id="937" r:id="rId24"/>
    <p:sldId id="944" r:id="rId25"/>
    <p:sldId id="945" r:id="rId26"/>
    <p:sldId id="946" r:id="rId27"/>
    <p:sldId id="947" r:id="rId28"/>
    <p:sldId id="948" r:id="rId29"/>
    <p:sldId id="294" r:id="rId30"/>
    <p:sldId id="297" r:id="rId31"/>
    <p:sldId id="295" r:id="rId32"/>
    <p:sldId id="282"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Slide" id="{01B19F52-1749-435D-888E-26A0770BF5B4}">
          <p14:sldIdLst>
            <p14:sldId id="256"/>
            <p14:sldId id="258"/>
            <p14:sldId id="259"/>
            <p14:sldId id="287"/>
            <p14:sldId id="290"/>
            <p14:sldId id="929"/>
            <p14:sldId id="930"/>
            <p14:sldId id="931"/>
            <p14:sldId id="932"/>
            <p14:sldId id="933"/>
            <p14:sldId id="934"/>
            <p14:sldId id="935"/>
            <p14:sldId id="936"/>
            <p14:sldId id="949"/>
            <p14:sldId id="938"/>
            <p14:sldId id="939"/>
            <p14:sldId id="940"/>
            <p14:sldId id="941"/>
            <p14:sldId id="943"/>
            <p14:sldId id="942"/>
            <p14:sldId id="937"/>
            <p14:sldId id="944"/>
            <p14:sldId id="945"/>
            <p14:sldId id="946"/>
            <p14:sldId id="947"/>
            <p14:sldId id="948"/>
            <p14:sldId id="294"/>
            <p14:sldId id="297"/>
            <p14:sldId id="295"/>
            <p14:sldId id="2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F0B171-123E-F406-4C36-76075D609262}" name="Mjellma Rukovci" initials="MR" userId="S::mjellma.rukovci@msecb.com::1cef33ed-d906-40ea-a6ff-b70dfef07c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1619"/>
    <a:srgbClr val="0C2233"/>
    <a:srgbClr val="7290AC"/>
    <a:srgbClr val="207D5A"/>
    <a:srgbClr val="EDE7E7"/>
    <a:srgbClr val="D8CCCC"/>
    <a:srgbClr val="548BFA"/>
    <a:srgbClr val="DA6D00"/>
    <a:srgbClr val="8E0000"/>
    <a:srgbClr val="DF45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8D0779-37F9-4F25-962D-EB9C632AAAC9}" v="351" dt="2023-10-31T09:26:46.292"/>
    <p1510:client id="{FBBCE251-28A2-4161-B623-8F9DB9A22723}" v="35" dt="2023-10-31T10:16:55.0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6/11/relationships/changesInfo" Target="changesInfos/changesInfo1.xml"/><Relationship Id="rId21" Type="http://schemas.openxmlformats.org/officeDocument/2006/relationships/slide" Target="slides/slide18.xml"/><Relationship Id="rId34"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ent Ferizaj" userId="1ac95d67-9df5-47eb-b975-9543de642a3b" providerId="ADAL" clId="{58202108-70C7-422D-80D5-B6BF4FE694BE}"/>
    <pc:docChg chg="undo custSel modSld">
      <pc:chgData name="Florent Ferizaj" userId="1ac95d67-9df5-47eb-b975-9543de642a3b" providerId="ADAL" clId="{58202108-70C7-422D-80D5-B6BF4FE694BE}" dt="2023-10-19T07:00:47.178" v="369" actId="207"/>
      <pc:docMkLst>
        <pc:docMk/>
      </pc:docMkLst>
      <pc:sldChg chg="modSp mod modAnim">
        <pc:chgData name="Florent Ferizaj" userId="1ac95d67-9df5-47eb-b975-9543de642a3b" providerId="ADAL" clId="{58202108-70C7-422D-80D5-B6BF4FE694BE}" dt="2023-10-19T06:58:20.493" v="336" actId="20577"/>
        <pc:sldMkLst>
          <pc:docMk/>
          <pc:sldMk cId="876605229" sldId="256"/>
        </pc:sldMkLst>
        <pc:spChg chg="mod">
          <ac:chgData name="Florent Ferizaj" userId="1ac95d67-9df5-47eb-b975-9543de642a3b" providerId="ADAL" clId="{58202108-70C7-422D-80D5-B6BF4FE694BE}" dt="2023-10-19T06:58:20.493" v="336" actId="20577"/>
          <ac:spMkLst>
            <pc:docMk/>
            <pc:sldMk cId="876605229" sldId="256"/>
            <ac:spMk id="6" creationId="{F1BA98F5-FB0E-483C-9755-9C0CEB604EDD}"/>
          </ac:spMkLst>
        </pc:spChg>
        <pc:spChg chg="mod">
          <ac:chgData name="Florent Ferizaj" userId="1ac95d67-9df5-47eb-b975-9543de642a3b" providerId="ADAL" clId="{58202108-70C7-422D-80D5-B6BF4FE694BE}" dt="2023-10-19T06:54:28.234" v="93" actId="1076"/>
          <ac:spMkLst>
            <pc:docMk/>
            <pc:sldMk cId="876605229" sldId="256"/>
            <ac:spMk id="7" creationId="{EB869A89-72E8-44EB-A86F-C473D79061CA}"/>
          </ac:spMkLst>
        </pc:spChg>
      </pc:sldChg>
      <pc:sldChg chg="modSp">
        <pc:chgData name="Florent Ferizaj" userId="1ac95d67-9df5-47eb-b975-9543de642a3b" providerId="ADAL" clId="{58202108-70C7-422D-80D5-B6BF4FE694BE}" dt="2023-10-19T06:54:38.769" v="99"/>
        <pc:sldMkLst>
          <pc:docMk/>
          <pc:sldMk cId="1913331388" sldId="258"/>
        </pc:sldMkLst>
        <pc:spChg chg="mod">
          <ac:chgData name="Florent Ferizaj" userId="1ac95d67-9df5-47eb-b975-9543de642a3b" providerId="ADAL" clId="{58202108-70C7-422D-80D5-B6BF4FE694BE}" dt="2023-10-19T06:54:37.375" v="98"/>
          <ac:spMkLst>
            <pc:docMk/>
            <pc:sldMk cId="1913331388" sldId="258"/>
            <ac:spMk id="2" creationId="{79CE79F0-8995-DD8A-CDD8-0444E73A2F2A}"/>
          </ac:spMkLst>
        </pc:spChg>
        <pc:spChg chg="mod">
          <ac:chgData name="Florent Ferizaj" userId="1ac95d67-9df5-47eb-b975-9543de642a3b" providerId="ADAL" clId="{58202108-70C7-422D-80D5-B6BF4FE694BE}" dt="2023-10-19T06:54:35.623" v="97" actId="20577"/>
          <ac:spMkLst>
            <pc:docMk/>
            <pc:sldMk cId="1913331388" sldId="258"/>
            <ac:spMk id="14" creationId="{802D7617-9E21-47A6-A249-A8B9100923DA}"/>
          </ac:spMkLst>
        </pc:spChg>
        <pc:spChg chg="mod">
          <ac:chgData name="Florent Ferizaj" userId="1ac95d67-9df5-47eb-b975-9543de642a3b" providerId="ADAL" clId="{58202108-70C7-422D-80D5-B6BF4FE694BE}" dt="2023-10-19T06:54:38.769" v="99"/>
          <ac:spMkLst>
            <pc:docMk/>
            <pc:sldMk cId="1913331388" sldId="258"/>
            <ac:spMk id="18" creationId="{8B87F45C-AD12-41DC-ACE2-69886FBF392D}"/>
          </ac:spMkLst>
        </pc:spChg>
      </pc:sldChg>
      <pc:sldChg chg="addSp delSp modSp mod">
        <pc:chgData name="Florent Ferizaj" userId="1ac95d67-9df5-47eb-b975-9543de642a3b" providerId="ADAL" clId="{58202108-70C7-422D-80D5-B6BF4FE694BE}" dt="2023-10-19T06:58:53.746" v="339" actId="14826"/>
        <pc:sldMkLst>
          <pc:docMk/>
          <pc:sldMk cId="2112361714" sldId="259"/>
        </pc:sldMkLst>
        <pc:spChg chg="mod">
          <ac:chgData name="Florent Ferizaj" userId="1ac95d67-9df5-47eb-b975-9543de642a3b" providerId="ADAL" clId="{58202108-70C7-422D-80D5-B6BF4FE694BE}" dt="2023-10-19T06:54:55.665" v="112" actId="20577"/>
          <ac:spMkLst>
            <pc:docMk/>
            <pc:sldMk cId="2112361714" sldId="259"/>
            <ac:spMk id="16" creationId="{0E8C40D3-BC7D-46AD-9096-26D3079EC99A}"/>
          </ac:spMkLst>
        </pc:spChg>
        <pc:spChg chg="mod">
          <ac:chgData name="Florent Ferizaj" userId="1ac95d67-9df5-47eb-b975-9543de642a3b" providerId="ADAL" clId="{58202108-70C7-422D-80D5-B6BF4FE694BE}" dt="2023-10-19T06:55:03.191" v="114" actId="207"/>
          <ac:spMkLst>
            <pc:docMk/>
            <pc:sldMk cId="2112361714" sldId="259"/>
            <ac:spMk id="19" creationId="{6D59E5B1-17F5-45E4-B46B-A681D9434084}"/>
          </ac:spMkLst>
        </pc:spChg>
        <pc:picChg chg="mod">
          <ac:chgData name="Florent Ferizaj" userId="1ac95d67-9df5-47eb-b975-9543de642a3b" providerId="ADAL" clId="{58202108-70C7-422D-80D5-B6BF4FE694BE}" dt="2023-10-19T06:58:53.746" v="339" actId="14826"/>
          <ac:picMkLst>
            <pc:docMk/>
            <pc:sldMk cId="2112361714" sldId="259"/>
            <ac:picMk id="6" creationId="{135EF1CE-08BB-AF25-1649-F843B44ED88E}"/>
          </ac:picMkLst>
        </pc:picChg>
        <pc:picChg chg="add del mod">
          <ac:chgData name="Florent Ferizaj" userId="1ac95d67-9df5-47eb-b975-9543de642a3b" providerId="ADAL" clId="{58202108-70C7-422D-80D5-B6BF4FE694BE}" dt="2023-10-19T06:58:38.408" v="338" actId="478"/>
          <ac:picMkLst>
            <pc:docMk/>
            <pc:sldMk cId="2112361714" sldId="259"/>
            <ac:picMk id="7" creationId="{8811208E-B318-40A6-5DD8-70CF6EE740E1}"/>
          </ac:picMkLst>
        </pc:picChg>
      </pc:sldChg>
      <pc:sldChg chg="modSp modAnim">
        <pc:chgData name="Florent Ferizaj" userId="1ac95d67-9df5-47eb-b975-9543de642a3b" providerId="ADAL" clId="{58202108-70C7-422D-80D5-B6BF4FE694BE}" dt="2023-10-19T07:00:41.637" v="366" actId="20577"/>
        <pc:sldMkLst>
          <pc:docMk/>
          <pc:sldMk cId="3169204318" sldId="287"/>
        </pc:sldMkLst>
        <pc:spChg chg="mod">
          <ac:chgData name="Florent Ferizaj" userId="1ac95d67-9df5-47eb-b975-9543de642a3b" providerId="ADAL" clId="{58202108-70C7-422D-80D5-B6BF4FE694BE}" dt="2023-10-19T07:00:41.637" v="366" actId="20577"/>
          <ac:spMkLst>
            <pc:docMk/>
            <pc:sldMk cId="3169204318" sldId="287"/>
            <ac:spMk id="12" creationId="{34DC3C6D-6FD6-43F5-B034-C60170C1DD4D}"/>
          </ac:spMkLst>
        </pc:spChg>
      </pc:sldChg>
      <pc:sldChg chg="modSp mod modAnim">
        <pc:chgData name="Florent Ferizaj" userId="1ac95d67-9df5-47eb-b975-9543de642a3b" providerId="ADAL" clId="{58202108-70C7-422D-80D5-B6BF4FE694BE}" dt="2023-10-19T06:56:55.214" v="256"/>
        <pc:sldMkLst>
          <pc:docMk/>
          <pc:sldMk cId="3197428341" sldId="290"/>
        </pc:sldMkLst>
        <pc:spChg chg="mod">
          <ac:chgData name="Florent Ferizaj" userId="1ac95d67-9df5-47eb-b975-9543de642a3b" providerId="ADAL" clId="{58202108-70C7-422D-80D5-B6BF4FE694BE}" dt="2023-10-19T06:56:24.322" v="204" actId="20577"/>
          <ac:spMkLst>
            <pc:docMk/>
            <pc:sldMk cId="3197428341" sldId="290"/>
            <ac:spMk id="2" creationId="{AF6D40EB-1575-D5B9-2FBB-E378E32BC630}"/>
          </ac:spMkLst>
        </pc:spChg>
        <pc:spChg chg="mod">
          <ac:chgData name="Florent Ferizaj" userId="1ac95d67-9df5-47eb-b975-9543de642a3b" providerId="ADAL" clId="{58202108-70C7-422D-80D5-B6BF4FE694BE}" dt="2023-10-19T06:55:43.362" v="139" actId="20577"/>
          <ac:spMkLst>
            <pc:docMk/>
            <pc:sldMk cId="3197428341" sldId="290"/>
            <ac:spMk id="12" creationId="{F4AB24F8-EC3D-478F-8745-D9D6564642EE}"/>
          </ac:spMkLst>
        </pc:spChg>
        <pc:spChg chg="mod">
          <ac:chgData name="Florent Ferizaj" userId="1ac95d67-9df5-47eb-b975-9543de642a3b" providerId="ADAL" clId="{58202108-70C7-422D-80D5-B6BF4FE694BE}" dt="2023-10-19T06:56:55.214" v="256"/>
          <ac:spMkLst>
            <pc:docMk/>
            <pc:sldMk cId="3197428341" sldId="290"/>
            <ac:spMk id="14" creationId="{53C2D7D9-7F5F-47A2-AFFF-81AB26473591}"/>
          </ac:spMkLst>
        </pc:spChg>
      </pc:sldChg>
      <pc:sldChg chg="modSp mod modAnim">
        <pc:chgData name="Florent Ferizaj" userId="1ac95d67-9df5-47eb-b975-9543de642a3b" providerId="ADAL" clId="{58202108-70C7-422D-80D5-B6BF4FE694BE}" dt="2023-10-19T07:00:01.070" v="359" actId="1076"/>
        <pc:sldMkLst>
          <pc:docMk/>
          <pc:sldMk cId="3742330078" sldId="291"/>
        </pc:sldMkLst>
        <pc:spChg chg="mod">
          <ac:chgData name="Florent Ferizaj" userId="1ac95d67-9df5-47eb-b975-9543de642a3b" providerId="ADAL" clId="{58202108-70C7-422D-80D5-B6BF4FE694BE}" dt="2023-10-19T06:57:05.639" v="261" actId="20577"/>
          <ac:spMkLst>
            <pc:docMk/>
            <pc:sldMk cId="3742330078" sldId="291"/>
            <ac:spMk id="2" creationId="{875129EC-798B-78DD-3573-AED2BF656C92}"/>
          </ac:spMkLst>
        </pc:spChg>
        <pc:spChg chg="mod">
          <ac:chgData name="Florent Ferizaj" userId="1ac95d67-9df5-47eb-b975-9543de642a3b" providerId="ADAL" clId="{58202108-70C7-422D-80D5-B6BF4FE694BE}" dt="2023-10-19T06:57:25.325" v="315" actId="20577"/>
          <ac:spMkLst>
            <pc:docMk/>
            <pc:sldMk cId="3742330078" sldId="291"/>
            <ac:spMk id="3" creationId="{DDCCA80B-34D4-E8F6-072F-6AB88548BEF2}"/>
          </ac:spMkLst>
        </pc:spChg>
        <pc:spChg chg="mod">
          <ac:chgData name="Florent Ferizaj" userId="1ac95d67-9df5-47eb-b975-9543de642a3b" providerId="ADAL" clId="{58202108-70C7-422D-80D5-B6BF4FE694BE}" dt="2023-10-19T07:00:01.070" v="359" actId="1076"/>
          <ac:spMkLst>
            <pc:docMk/>
            <pc:sldMk cId="3742330078" sldId="291"/>
            <ac:spMk id="5" creationId="{93559A69-F753-8F80-EDD6-7D7E41E9F193}"/>
          </ac:spMkLst>
        </pc:spChg>
        <pc:spChg chg="mod">
          <ac:chgData name="Florent Ferizaj" userId="1ac95d67-9df5-47eb-b975-9543de642a3b" providerId="ADAL" clId="{58202108-70C7-422D-80D5-B6BF4FE694BE}" dt="2023-10-19T06:57:33.196" v="317" actId="207"/>
          <ac:spMkLst>
            <pc:docMk/>
            <pc:sldMk cId="3742330078" sldId="291"/>
            <ac:spMk id="14" creationId="{53C2D7D9-7F5F-47A2-AFFF-81AB26473591}"/>
          </ac:spMkLst>
        </pc:spChg>
      </pc:sldChg>
      <pc:sldChg chg="modSp">
        <pc:chgData name="Florent Ferizaj" userId="1ac95d67-9df5-47eb-b975-9543de642a3b" providerId="ADAL" clId="{58202108-70C7-422D-80D5-B6BF4FE694BE}" dt="2023-10-19T06:57:37.104" v="322" actId="20577"/>
        <pc:sldMkLst>
          <pc:docMk/>
          <pc:sldMk cId="3116769435" sldId="293"/>
        </pc:sldMkLst>
        <pc:spChg chg="mod">
          <ac:chgData name="Florent Ferizaj" userId="1ac95d67-9df5-47eb-b975-9543de642a3b" providerId="ADAL" clId="{58202108-70C7-422D-80D5-B6BF4FE694BE}" dt="2023-10-19T06:57:37.104" v="322" actId="20577"/>
          <ac:spMkLst>
            <pc:docMk/>
            <pc:sldMk cId="3116769435" sldId="293"/>
            <ac:spMk id="4" creationId="{3491108B-6078-43FD-A05D-C0C59D42639D}"/>
          </ac:spMkLst>
        </pc:spChg>
      </pc:sldChg>
      <pc:sldChg chg="modSp modAnim">
        <pc:chgData name="Florent Ferizaj" userId="1ac95d67-9df5-47eb-b975-9543de642a3b" providerId="ADAL" clId="{58202108-70C7-422D-80D5-B6BF4FE694BE}" dt="2023-10-19T06:57:45.722" v="328"/>
        <pc:sldMkLst>
          <pc:docMk/>
          <pc:sldMk cId="4066983310" sldId="294"/>
        </pc:sldMkLst>
        <pc:spChg chg="mod">
          <ac:chgData name="Florent Ferizaj" userId="1ac95d67-9df5-47eb-b975-9543de642a3b" providerId="ADAL" clId="{58202108-70C7-422D-80D5-B6BF4FE694BE}" dt="2023-10-19T06:57:45.722" v="328"/>
          <ac:spMkLst>
            <pc:docMk/>
            <pc:sldMk cId="4066983310" sldId="294"/>
            <ac:spMk id="5" creationId="{78F33552-946A-7B99-27B2-1C48F5B6A36D}"/>
          </ac:spMkLst>
        </pc:spChg>
        <pc:spChg chg="mod">
          <ac:chgData name="Florent Ferizaj" userId="1ac95d67-9df5-47eb-b975-9543de642a3b" providerId="ADAL" clId="{58202108-70C7-422D-80D5-B6BF4FE694BE}" dt="2023-10-19T06:57:40.943" v="327" actId="20577"/>
          <ac:spMkLst>
            <pc:docMk/>
            <pc:sldMk cId="4066983310" sldId="294"/>
            <ac:spMk id="21" creationId="{294107FC-082D-4E89-8136-9588E6158E28}"/>
          </ac:spMkLst>
        </pc:spChg>
      </pc:sldChg>
      <pc:sldChg chg="modSp modAnim">
        <pc:chgData name="Florent Ferizaj" userId="1ac95d67-9df5-47eb-b975-9543de642a3b" providerId="ADAL" clId="{58202108-70C7-422D-80D5-B6BF4FE694BE}" dt="2023-10-19T06:57:55.912" v="335" actId="207"/>
        <pc:sldMkLst>
          <pc:docMk/>
          <pc:sldMk cId="2122430467" sldId="296"/>
        </pc:sldMkLst>
        <pc:spChg chg="mod">
          <ac:chgData name="Florent Ferizaj" userId="1ac95d67-9df5-47eb-b975-9543de642a3b" providerId="ADAL" clId="{58202108-70C7-422D-80D5-B6BF4FE694BE}" dt="2023-10-19T06:57:55.912" v="335" actId="207"/>
          <ac:spMkLst>
            <pc:docMk/>
            <pc:sldMk cId="2122430467" sldId="296"/>
            <ac:spMk id="8" creationId="{C371350A-4872-C876-59E9-52CC11852772}"/>
          </ac:spMkLst>
        </pc:spChg>
        <pc:spChg chg="mod">
          <ac:chgData name="Florent Ferizaj" userId="1ac95d67-9df5-47eb-b975-9543de642a3b" providerId="ADAL" clId="{58202108-70C7-422D-80D5-B6BF4FE694BE}" dt="2023-10-19T06:57:52.449" v="333" actId="20577"/>
          <ac:spMkLst>
            <pc:docMk/>
            <pc:sldMk cId="2122430467" sldId="296"/>
            <ac:spMk id="14" creationId="{CE109736-C057-F8A9-D331-A111AB331DAE}"/>
          </ac:spMkLst>
        </pc:spChg>
      </pc:sldChg>
      <pc:sldChg chg="addSp delSp modSp mod delAnim">
        <pc:chgData name="Florent Ferizaj" userId="1ac95d67-9df5-47eb-b975-9543de642a3b" providerId="ADAL" clId="{58202108-70C7-422D-80D5-B6BF4FE694BE}" dt="2023-10-19T07:00:47.178" v="369" actId="207"/>
        <pc:sldMkLst>
          <pc:docMk/>
          <pc:sldMk cId="670327803" sldId="928"/>
        </pc:sldMkLst>
        <pc:spChg chg="add mod ord">
          <ac:chgData name="Florent Ferizaj" userId="1ac95d67-9df5-47eb-b975-9543de642a3b" providerId="ADAL" clId="{58202108-70C7-422D-80D5-B6BF4FE694BE}" dt="2023-10-19T07:00:09.259" v="363" actId="1076"/>
          <ac:spMkLst>
            <pc:docMk/>
            <pc:sldMk cId="670327803" sldId="928"/>
            <ac:spMk id="2" creationId="{37D6FB89-8084-3E76-8787-D4D78A681380}"/>
          </ac:spMkLst>
        </pc:spChg>
        <pc:spChg chg="mod">
          <ac:chgData name="Florent Ferizaj" userId="1ac95d67-9df5-47eb-b975-9543de642a3b" providerId="ADAL" clId="{58202108-70C7-422D-80D5-B6BF4FE694BE}" dt="2023-10-19T07:00:47.178" v="369" actId="207"/>
          <ac:spMkLst>
            <pc:docMk/>
            <pc:sldMk cId="670327803" sldId="928"/>
            <ac:spMk id="4" creationId="{BBA8E5C0-3CF2-E0D2-6B8D-2A2D2519F09E}"/>
          </ac:spMkLst>
        </pc:spChg>
        <pc:spChg chg="add del mod">
          <ac:chgData name="Florent Ferizaj" userId="1ac95d67-9df5-47eb-b975-9543de642a3b" providerId="ADAL" clId="{58202108-70C7-422D-80D5-B6BF4FE694BE}" dt="2023-10-19T07:00:00.726" v="357"/>
          <ac:spMkLst>
            <pc:docMk/>
            <pc:sldMk cId="670327803" sldId="928"/>
            <ac:spMk id="5" creationId="{636CD225-E088-2E7B-E589-66F04EF0A1B7}"/>
          </ac:spMkLst>
        </pc:spChg>
        <pc:spChg chg="add del mod">
          <ac:chgData name="Florent Ferizaj" userId="1ac95d67-9df5-47eb-b975-9543de642a3b" providerId="ADAL" clId="{58202108-70C7-422D-80D5-B6BF4FE694BE}" dt="2023-10-19T07:00:00.726" v="357"/>
          <ac:spMkLst>
            <pc:docMk/>
            <pc:sldMk cId="670327803" sldId="928"/>
            <ac:spMk id="6" creationId="{71A5E241-CC4C-ADF4-D17A-F22D88B4FBD3}"/>
          </ac:spMkLst>
        </pc:spChg>
        <pc:picChg chg="add del mod">
          <ac:chgData name="Florent Ferizaj" userId="1ac95d67-9df5-47eb-b975-9543de642a3b" providerId="ADAL" clId="{58202108-70C7-422D-80D5-B6BF4FE694BE}" dt="2023-10-19T07:00:00.726" v="357"/>
          <ac:picMkLst>
            <pc:docMk/>
            <pc:sldMk cId="670327803" sldId="928"/>
            <ac:picMk id="3" creationId="{47855CA3-2FCC-73B8-7D6C-5ED60021082D}"/>
          </ac:picMkLst>
        </pc:picChg>
        <pc:picChg chg="del">
          <ac:chgData name="Florent Ferizaj" userId="1ac95d67-9df5-47eb-b975-9543de642a3b" providerId="ADAL" clId="{58202108-70C7-422D-80D5-B6BF4FE694BE}" dt="2023-10-19T06:55:24.703" v="127" actId="478"/>
          <ac:picMkLst>
            <pc:docMk/>
            <pc:sldMk cId="670327803" sldId="928"/>
            <ac:picMk id="3" creationId="{5BC834F8-5932-2765-930D-AD1CBF4FD072}"/>
          </ac:picMkLst>
        </pc:picChg>
      </pc:sldChg>
    </pc:docChg>
  </pc:docChgLst>
  <pc:docChgLst>
    <pc:chgData name="Mjellma Rukovci" userId="1cef33ed-d906-40ea-a6ff-b70dfef07c29" providerId="ADAL" clId="{FBBCE251-28A2-4161-B623-8F9DB9A22723}"/>
    <pc:docChg chg="undo custSel modSld">
      <pc:chgData name="Mjellma Rukovci" userId="1cef33ed-d906-40ea-a6ff-b70dfef07c29" providerId="ADAL" clId="{FBBCE251-28A2-4161-B623-8F9DB9A22723}" dt="2023-10-31T10:16:55.029" v="73" actId="20577"/>
      <pc:docMkLst>
        <pc:docMk/>
      </pc:docMkLst>
      <pc:sldChg chg="modSp">
        <pc:chgData name="Mjellma Rukovci" userId="1cef33ed-d906-40ea-a6ff-b70dfef07c29" providerId="ADAL" clId="{FBBCE251-28A2-4161-B623-8F9DB9A22723}" dt="2023-10-31T10:10:59.851" v="32" actId="20577"/>
        <pc:sldMkLst>
          <pc:docMk/>
          <pc:sldMk cId="3197428341" sldId="290"/>
        </pc:sldMkLst>
        <pc:spChg chg="mod">
          <ac:chgData name="Mjellma Rukovci" userId="1cef33ed-d906-40ea-a6ff-b70dfef07c29" providerId="ADAL" clId="{FBBCE251-28A2-4161-B623-8F9DB9A22723}" dt="2023-10-31T10:10:59.851" v="32" actId="20577"/>
          <ac:spMkLst>
            <pc:docMk/>
            <pc:sldMk cId="3197428341" sldId="290"/>
            <ac:spMk id="12" creationId="{F4AB24F8-EC3D-478F-8745-D9D6564642EE}"/>
          </ac:spMkLst>
        </pc:spChg>
      </pc:sldChg>
      <pc:sldChg chg="modSp">
        <pc:chgData name="Mjellma Rukovci" userId="1cef33ed-d906-40ea-a6ff-b70dfef07c29" providerId="ADAL" clId="{FBBCE251-28A2-4161-B623-8F9DB9A22723}" dt="2023-10-31T10:10:12.887" v="31" actId="20577"/>
        <pc:sldMkLst>
          <pc:docMk/>
          <pc:sldMk cId="4066983310" sldId="294"/>
        </pc:sldMkLst>
        <pc:spChg chg="mod">
          <ac:chgData name="Mjellma Rukovci" userId="1cef33ed-d906-40ea-a6ff-b70dfef07c29" providerId="ADAL" clId="{FBBCE251-28A2-4161-B623-8F9DB9A22723}" dt="2023-10-31T10:10:12.887" v="31" actId="20577"/>
          <ac:spMkLst>
            <pc:docMk/>
            <pc:sldMk cId="4066983310" sldId="294"/>
            <ac:spMk id="5" creationId="{78F33552-946A-7B99-27B2-1C48F5B6A36D}"/>
          </ac:spMkLst>
        </pc:spChg>
      </pc:sldChg>
      <pc:sldChg chg="modSp">
        <pc:chgData name="Mjellma Rukovci" userId="1cef33ed-d906-40ea-a6ff-b70dfef07c29" providerId="ADAL" clId="{FBBCE251-28A2-4161-B623-8F9DB9A22723}" dt="2023-10-31T10:02:00.699" v="0" actId="20577"/>
        <pc:sldMkLst>
          <pc:docMk/>
          <pc:sldMk cId="1599634730" sldId="930"/>
        </pc:sldMkLst>
        <pc:spChg chg="mod">
          <ac:chgData name="Mjellma Rukovci" userId="1cef33ed-d906-40ea-a6ff-b70dfef07c29" providerId="ADAL" clId="{FBBCE251-28A2-4161-B623-8F9DB9A22723}" dt="2023-10-31T10:02:00.699" v="0" actId="20577"/>
          <ac:spMkLst>
            <pc:docMk/>
            <pc:sldMk cId="1599634730" sldId="930"/>
            <ac:spMk id="2" creationId="{AF6D40EB-1575-D5B9-2FBB-E378E32BC630}"/>
          </ac:spMkLst>
        </pc:spChg>
      </pc:sldChg>
      <pc:sldChg chg="modSp modAnim">
        <pc:chgData name="Mjellma Rukovci" userId="1cef33ed-d906-40ea-a6ff-b70dfef07c29" providerId="ADAL" clId="{FBBCE251-28A2-4161-B623-8F9DB9A22723}" dt="2023-10-31T10:02:41.193" v="2" actId="20577"/>
        <pc:sldMkLst>
          <pc:docMk/>
          <pc:sldMk cId="2545870573" sldId="931"/>
        </pc:sldMkLst>
        <pc:spChg chg="mod">
          <ac:chgData name="Mjellma Rukovci" userId="1cef33ed-d906-40ea-a6ff-b70dfef07c29" providerId="ADAL" clId="{FBBCE251-28A2-4161-B623-8F9DB9A22723}" dt="2023-10-31T10:02:35.566" v="1" actId="20577"/>
          <ac:spMkLst>
            <pc:docMk/>
            <pc:sldMk cId="2545870573" sldId="931"/>
            <ac:spMk id="2" creationId="{AF6D40EB-1575-D5B9-2FBB-E378E32BC630}"/>
          </ac:spMkLst>
        </pc:spChg>
      </pc:sldChg>
      <pc:sldChg chg="modSp">
        <pc:chgData name="Mjellma Rukovci" userId="1cef33ed-d906-40ea-a6ff-b70dfef07c29" providerId="ADAL" clId="{FBBCE251-28A2-4161-B623-8F9DB9A22723}" dt="2023-10-31T10:05:07.695" v="22" actId="20577"/>
        <pc:sldMkLst>
          <pc:docMk/>
          <pc:sldMk cId="626066100" sldId="935"/>
        </pc:sldMkLst>
        <pc:spChg chg="mod">
          <ac:chgData name="Mjellma Rukovci" userId="1cef33ed-d906-40ea-a6ff-b70dfef07c29" providerId="ADAL" clId="{FBBCE251-28A2-4161-B623-8F9DB9A22723}" dt="2023-10-31T10:05:07.695" v="22" actId="20577"/>
          <ac:spMkLst>
            <pc:docMk/>
            <pc:sldMk cId="626066100" sldId="935"/>
            <ac:spMk id="2" creationId="{AF6D40EB-1575-D5B9-2FBB-E378E32BC630}"/>
          </ac:spMkLst>
        </pc:spChg>
      </pc:sldChg>
      <pc:sldChg chg="modSp mod">
        <pc:chgData name="Mjellma Rukovci" userId="1cef33ed-d906-40ea-a6ff-b70dfef07c29" providerId="ADAL" clId="{FBBCE251-28A2-4161-B623-8F9DB9A22723}" dt="2023-10-31T10:08:10.864" v="29" actId="20577"/>
        <pc:sldMkLst>
          <pc:docMk/>
          <pc:sldMk cId="1682270026" sldId="942"/>
        </pc:sldMkLst>
        <pc:spChg chg="mod">
          <ac:chgData name="Mjellma Rukovci" userId="1cef33ed-d906-40ea-a6ff-b70dfef07c29" providerId="ADAL" clId="{FBBCE251-28A2-4161-B623-8F9DB9A22723}" dt="2023-10-31T10:08:10.864" v="29" actId="20577"/>
          <ac:spMkLst>
            <pc:docMk/>
            <pc:sldMk cId="1682270026" sldId="942"/>
            <ac:spMk id="4" creationId="{78747543-1FEB-C3E9-33C3-FCB2BAE59B68}"/>
          </ac:spMkLst>
        </pc:spChg>
      </pc:sldChg>
      <pc:sldChg chg="modSp mod">
        <pc:chgData name="Mjellma Rukovci" userId="1cef33ed-d906-40ea-a6ff-b70dfef07c29" providerId="ADAL" clId="{FBBCE251-28A2-4161-B623-8F9DB9A22723}" dt="2023-10-31T10:15:53.569" v="69" actId="14100"/>
        <pc:sldMkLst>
          <pc:docMk/>
          <pc:sldMk cId="2498661594" sldId="946"/>
        </pc:sldMkLst>
        <pc:spChg chg="mod">
          <ac:chgData name="Mjellma Rukovci" userId="1cef33ed-d906-40ea-a6ff-b70dfef07c29" providerId="ADAL" clId="{FBBCE251-28A2-4161-B623-8F9DB9A22723}" dt="2023-10-31T10:15:47.645" v="65" actId="1037"/>
          <ac:spMkLst>
            <pc:docMk/>
            <pc:sldMk cId="2498661594" sldId="946"/>
            <ac:spMk id="8" creationId="{8BA56B19-01D6-123A-EC23-606D61AE976A}"/>
          </ac:spMkLst>
        </pc:spChg>
        <pc:spChg chg="mod">
          <ac:chgData name="Mjellma Rukovci" userId="1cef33ed-d906-40ea-a6ff-b70dfef07c29" providerId="ADAL" clId="{FBBCE251-28A2-4161-B623-8F9DB9A22723}" dt="2023-10-31T10:15:53.569" v="69" actId="14100"/>
          <ac:spMkLst>
            <pc:docMk/>
            <pc:sldMk cId="2498661594" sldId="946"/>
            <ac:spMk id="12" creationId="{F6EEFD82-517E-EE2B-1E08-F35C8F67B3A5}"/>
          </ac:spMkLst>
        </pc:spChg>
      </pc:sldChg>
      <pc:sldChg chg="modSp">
        <pc:chgData name="Mjellma Rukovci" userId="1cef33ed-d906-40ea-a6ff-b70dfef07c29" providerId="ADAL" clId="{FBBCE251-28A2-4161-B623-8F9DB9A22723}" dt="2023-10-31T10:16:55.029" v="73" actId="20577"/>
        <pc:sldMkLst>
          <pc:docMk/>
          <pc:sldMk cId="2921867491" sldId="948"/>
        </pc:sldMkLst>
        <pc:spChg chg="mod">
          <ac:chgData name="Mjellma Rukovci" userId="1cef33ed-d906-40ea-a6ff-b70dfef07c29" providerId="ADAL" clId="{FBBCE251-28A2-4161-B623-8F9DB9A22723}" dt="2023-10-31T10:16:55.029" v="73" actId="20577"/>
          <ac:spMkLst>
            <pc:docMk/>
            <pc:sldMk cId="2921867491" sldId="948"/>
            <ac:spMk id="3" creationId="{90C6029E-1C02-E771-DD4D-28089D21FFAB}"/>
          </ac:spMkLst>
        </pc:spChg>
      </pc:sldChg>
      <pc:sldChg chg="modSp mod">
        <pc:chgData name="Mjellma Rukovci" userId="1cef33ed-d906-40ea-a6ff-b70dfef07c29" providerId="ADAL" clId="{FBBCE251-28A2-4161-B623-8F9DB9A22723}" dt="2023-10-31T10:06:31.107" v="25" actId="20577"/>
        <pc:sldMkLst>
          <pc:docMk/>
          <pc:sldMk cId="1855730906" sldId="949"/>
        </pc:sldMkLst>
        <pc:spChg chg="mod">
          <ac:chgData name="Mjellma Rukovci" userId="1cef33ed-d906-40ea-a6ff-b70dfef07c29" providerId="ADAL" clId="{FBBCE251-28A2-4161-B623-8F9DB9A22723}" dt="2023-10-31T10:06:31.107" v="25" actId="20577"/>
          <ac:spMkLst>
            <pc:docMk/>
            <pc:sldMk cId="1855730906" sldId="949"/>
            <ac:spMk id="6" creationId="{63D69B61-83FE-C70A-B572-C232C6129B20}"/>
          </ac:spMkLst>
        </pc:spChg>
      </pc:sldChg>
    </pc:docChg>
  </pc:docChgLst>
  <pc:docChgLst>
    <pc:chgData name="Mjellma Rukovci" userId="1cef33ed-d906-40ea-a6ff-b70dfef07c29" providerId="ADAL" clId="{05F8623A-7E1F-4FFC-BCCF-9A4CEA66A3D0}"/>
    <pc:docChg chg="modSld">
      <pc:chgData name="Mjellma Rukovci" userId="1cef33ed-d906-40ea-a6ff-b70dfef07c29" providerId="ADAL" clId="{05F8623A-7E1F-4FFC-BCCF-9A4CEA66A3D0}" dt="2023-06-07T08:57:48.835" v="75" actId="20577"/>
      <pc:docMkLst>
        <pc:docMk/>
      </pc:docMkLst>
      <pc:sldChg chg="modSp mod">
        <pc:chgData name="Mjellma Rukovci" userId="1cef33ed-d906-40ea-a6ff-b70dfef07c29" providerId="ADAL" clId="{05F8623A-7E1F-4FFC-BCCF-9A4CEA66A3D0}" dt="2023-06-07T08:31:30.492" v="5" actId="14100"/>
        <pc:sldMkLst>
          <pc:docMk/>
          <pc:sldMk cId="1913331388" sldId="258"/>
        </pc:sldMkLst>
        <pc:spChg chg="mod">
          <ac:chgData name="Mjellma Rukovci" userId="1cef33ed-d906-40ea-a6ff-b70dfef07c29" providerId="ADAL" clId="{05F8623A-7E1F-4FFC-BCCF-9A4CEA66A3D0}" dt="2023-06-07T08:31:30.492" v="5" actId="14100"/>
          <ac:spMkLst>
            <pc:docMk/>
            <pc:sldMk cId="1913331388" sldId="258"/>
            <ac:spMk id="15" creationId="{1AF14D7D-3A38-47CB-9165-3CD046DF94B0}"/>
          </ac:spMkLst>
        </pc:spChg>
      </pc:sldChg>
      <pc:sldChg chg="modSp mod">
        <pc:chgData name="Mjellma Rukovci" userId="1cef33ed-d906-40ea-a6ff-b70dfef07c29" providerId="ADAL" clId="{05F8623A-7E1F-4FFC-BCCF-9A4CEA66A3D0}" dt="2023-06-07T08:45:24.292" v="18" actId="20577"/>
        <pc:sldMkLst>
          <pc:docMk/>
          <pc:sldMk cId="2112361714" sldId="259"/>
        </pc:sldMkLst>
        <pc:spChg chg="mod">
          <ac:chgData name="Mjellma Rukovci" userId="1cef33ed-d906-40ea-a6ff-b70dfef07c29" providerId="ADAL" clId="{05F8623A-7E1F-4FFC-BCCF-9A4CEA66A3D0}" dt="2023-06-07T08:45:24.292" v="18" actId="20577"/>
          <ac:spMkLst>
            <pc:docMk/>
            <pc:sldMk cId="2112361714" sldId="259"/>
            <ac:spMk id="19" creationId="{6D59E5B1-17F5-45E4-B46B-A681D9434084}"/>
          </ac:spMkLst>
        </pc:spChg>
      </pc:sldChg>
      <pc:sldChg chg="modSp">
        <pc:chgData name="Mjellma Rukovci" userId="1cef33ed-d906-40ea-a6ff-b70dfef07c29" providerId="ADAL" clId="{05F8623A-7E1F-4FFC-BCCF-9A4CEA66A3D0}" dt="2023-06-07T08:32:35.093" v="12" actId="5793"/>
        <pc:sldMkLst>
          <pc:docMk/>
          <pc:sldMk cId="3169204318" sldId="287"/>
        </pc:sldMkLst>
        <pc:spChg chg="mod">
          <ac:chgData name="Mjellma Rukovci" userId="1cef33ed-d906-40ea-a6ff-b70dfef07c29" providerId="ADAL" clId="{05F8623A-7E1F-4FFC-BCCF-9A4CEA66A3D0}" dt="2023-06-07T08:32:35.093" v="12" actId="5793"/>
          <ac:spMkLst>
            <pc:docMk/>
            <pc:sldMk cId="3169204318" sldId="287"/>
            <ac:spMk id="14" creationId="{F2354A7A-6197-441E-B9F9-412D340362CF}"/>
          </ac:spMkLst>
        </pc:spChg>
      </pc:sldChg>
      <pc:sldChg chg="modSp">
        <pc:chgData name="Mjellma Rukovci" userId="1cef33ed-d906-40ea-a6ff-b70dfef07c29" providerId="ADAL" clId="{05F8623A-7E1F-4FFC-BCCF-9A4CEA66A3D0}" dt="2023-06-07T08:47:04.946" v="20" actId="20577"/>
        <pc:sldMkLst>
          <pc:docMk/>
          <pc:sldMk cId="12608605" sldId="289"/>
        </pc:sldMkLst>
        <pc:spChg chg="mod">
          <ac:chgData name="Mjellma Rukovci" userId="1cef33ed-d906-40ea-a6ff-b70dfef07c29" providerId="ADAL" clId="{05F8623A-7E1F-4FFC-BCCF-9A4CEA66A3D0}" dt="2023-06-07T08:47:04.946" v="20" actId="20577"/>
          <ac:spMkLst>
            <pc:docMk/>
            <pc:sldMk cId="12608605" sldId="289"/>
            <ac:spMk id="34" creationId="{BB52DBE3-74C3-CEFF-C850-A827B662342E}"/>
          </ac:spMkLst>
        </pc:spChg>
      </pc:sldChg>
      <pc:sldChg chg="modSp mod">
        <pc:chgData name="Mjellma Rukovci" userId="1cef33ed-d906-40ea-a6ff-b70dfef07c29" providerId="ADAL" clId="{05F8623A-7E1F-4FFC-BCCF-9A4CEA66A3D0}" dt="2023-06-07T08:48:05.347" v="21" actId="20577"/>
        <pc:sldMkLst>
          <pc:docMk/>
          <pc:sldMk cId="3197428341" sldId="290"/>
        </pc:sldMkLst>
        <pc:spChg chg="mod">
          <ac:chgData name="Mjellma Rukovci" userId="1cef33ed-d906-40ea-a6ff-b70dfef07c29" providerId="ADAL" clId="{05F8623A-7E1F-4FFC-BCCF-9A4CEA66A3D0}" dt="2023-06-07T08:48:05.347" v="21" actId="20577"/>
          <ac:spMkLst>
            <pc:docMk/>
            <pc:sldMk cId="3197428341" sldId="290"/>
            <ac:spMk id="14" creationId="{53C2D7D9-7F5F-47A2-AFFF-81AB26473591}"/>
          </ac:spMkLst>
        </pc:spChg>
      </pc:sldChg>
      <pc:sldChg chg="modSp mod">
        <pc:chgData name="Mjellma Rukovci" userId="1cef33ed-d906-40ea-a6ff-b70dfef07c29" providerId="ADAL" clId="{05F8623A-7E1F-4FFC-BCCF-9A4CEA66A3D0}" dt="2023-06-07T08:48:39.834" v="22" actId="20577"/>
        <pc:sldMkLst>
          <pc:docMk/>
          <pc:sldMk cId="3742330078" sldId="291"/>
        </pc:sldMkLst>
        <pc:spChg chg="mod">
          <ac:chgData name="Mjellma Rukovci" userId="1cef33ed-d906-40ea-a6ff-b70dfef07c29" providerId="ADAL" clId="{05F8623A-7E1F-4FFC-BCCF-9A4CEA66A3D0}" dt="2023-06-07T08:48:39.834" v="22" actId="20577"/>
          <ac:spMkLst>
            <pc:docMk/>
            <pc:sldMk cId="3742330078" sldId="291"/>
            <ac:spMk id="14" creationId="{53C2D7D9-7F5F-47A2-AFFF-81AB26473591}"/>
          </ac:spMkLst>
        </pc:spChg>
      </pc:sldChg>
      <pc:sldChg chg="modSp mod addCm modNotesTx">
        <pc:chgData name="Mjellma Rukovci" userId="1cef33ed-d906-40ea-a6ff-b70dfef07c29" providerId="ADAL" clId="{05F8623A-7E1F-4FFC-BCCF-9A4CEA66A3D0}" dt="2023-06-07T08:51:16.779" v="44"/>
        <pc:sldMkLst>
          <pc:docMk/>
          <pc:sldMk cId="3116769435" sldId="293"/>
        </pc:sldMkLst>
        <pc:spChg chg="mod">
          <ac:chgData name="Mjellma Rukovci" userId="1cef33ed-d906-40ea-a6ff-b70dfef07c29" providerId="ADAL" clId="{05F8623A-7E1F-4FFC-BCCF-9A4CEA66A3D0}" dt="2023-06-07T08:50:22.114" v="41" actId="113"/>
          <ac:spMkLst>
            <pc:docMk/>
            <pc:sldMk cId="3116769435" sldId="293"/>
            <ac:spMk id="5" creationId="{9E6FFFD3-45E9-4557-BCD5-ECCC3C9DE56C}"/>
          </ac:spMkLst>
        </pc:spChg>
        <pc:spChg chg="mod">
          <ac:chgData name="Mjellma Rukovci" userId="1cef33ed-d906-40ea-a6ff-b70dfef07c29" providerId="ADAL" clId="{05F8623A-7E1F-4FFC-BCCF-9A4CEA66A3D0}" dt="2023-06-07T08:50:42.147" v="42" actId="20577"/>
          <ac:spMkLst>
            <pc:docMk/>
            <pc:sldMk cId="3116769435" sldId="293"/>
            <ac:spMk id="6" creationId="{B3FDA9C0-147E-4ADE-922B-8239CE2E23AA}"/>
          </ac:spMkLst>
        </pc:spChg>
        <pc:spChg chg="mod">
          <ac:chgData name="Mjellma Rukovci" userId="1cef33ed-d906-40ea-a6ff-b70dfef07c29" providerId="ADAL" clId="{05F8623A-7E1F-4FFC-BCCF-9A4CEA66A3D0}" dt="2023-06-07T08:51:00.789" v="43" actId="20577"/>
          <ac:spMkLst>
            <pc:docMk/>
            <pc:sldMk cId="3116769435" sldId="293"/>
            <ac:spMk id="11" creationId="{09DF1DA0-4799-4E7C-9EF6-6434EE696FF8}"/>
          </ac:spMkLst>
        </pc:spChg>
        <pc:extLst>
          <p:ext xmlns:p="http://schemas.openxmlformats.org/presentationml/2006/main" uri="{D6D511B9-2390-475A-947B-AFAB55BFBCF1}">
            <pc226:cmChg xmlns:pc226="http://schemas.microsoft.com/office/powerpoint/2022/06/main/command" chg="add">
              <pc226:chgData name="Mjellma Rukovci" userId="1cef33ed-d906-40ea-a6ff-b70dfef07c29" providerId="ADAL" clId="{05F8623A-7E1F-4FFC-BCCF-9A4CEA66A3D0}" dt="2023-06-07T08:51:16.779" v="44"/>
              <pc2:cmMkLst xmlns:pc2="http://schemas.microsoft.com/office/powerpoint/2019/9/main/command">
                <pc:docMk/>
                <pc:sldMk cId="3116769435" sldId="293"/>
                <pc2:cmMk id="{96FB509B-A7C2-4C47-91FA-4B6020010C94}"/>
              </pc2:cmMkLst>
            </pc226:cmChg>
          </p:ext>
        </pc:extLst>
      </pc:sldChg>
      <pc:sldChg chg="modSp">
        <pc:chgData name="Mjellma Rukovci" userId="1cef33ed-d906-40ea-a6ff-b70dfef07c29" providerId="ADAL" clId="{05F8623A-7E1F-4FFC-BCCF-9A4CEA66A3D0}" dt="2023-06-07T08:54:01.252" v="52" actId="20577"/>
        <pc:sldMkLst>
          <pc:docMk/>
          <pc:sldMk cId="2782898625" sldId="295"/>
        </pc:sldMkLst>
        <pc:spChg chg="mod">
          <ac:chgData name="Mjellma Rukovci" userId="1cef33ed-d906-40ea-a6ff-b70dfef07c29" providerId="ADAL" clId="{05F8623A-7E1F-4FFC-BCCF-9A4CEA66A3D0}" dt="2023-06-07T08:53:16.796" v="50" actId="20577"/>
          <ac:spMkLst>
            <pc:docMk/>
            <pc:sldMk cId="2782898625" sldId="295"/>
            <ac:spMk id="18" creationId="{F61C4C2F-8645-4C86-B2AC-59D3C4A89574}"/>
          </ac:spMkLst>
        </pc:spChg>
        <pc:spChg chg="mod">
          <ac:chgData name="Mjellma Rukovci" userId="1cef33ed-d906-40ea-a6ff-b70dfef07c29" providerId="ADAL" clId="{05F8623A-7E1F-4FFC-BCCF-9A4CEA66A3D0}" dt="2023-06-07T08:54:01.252" v="52" actId="20577"/>
          <ac:spMkLst>
            <pc:docMk/>
            <pc:sldMk cId="2782898625" sldId="295"/>
            <ac:spMk id="21" creationId="{1C71675E-5AD2-46FA-AE5F-53DC9101A4B7}"/>
          </ac:spMkLst>
        </pc:spChg>
      </pc:sldChg>
      <pc:sldChg chg="modSp">
        <pc:chgData name="Mjellma Rukovci" userId="1cef33ed-d906-40ea-a6ff-b70dfef07c29" providerId="ADAL" clId="{05F8623A-7E1F-4FFC-BCCF-9A4CEA66A3D0}" dt="2023-06-07T08:56:43.482" v="69" actId="20577"/>
        <pc:sldMkLst>
          <pc:docMk/>
          <pc:sldMk cId="1802899259" sldId="302"/>
        </pc:sldMkLst>
        <pc:spChg chg="mod">
          <ac:chgData name="Mjellma Rukovci" userId="1cef33ed-d906-40ea-a6ff-b70dfef07c29" providerId="ADAL" clId="{05F8623A-7E1F-4FFC-BCCF-9A4CEA66A3D0}" dt="2023-06-07T08:56:29.540" v="61" actId="20577"/>
          <ac:spMkLst>
            <pc:docMk/>
            <pc:sldMk cId="1802899259" sldId="302"/>
            <ac:spMk id="15" creationId="{A7BB9B5F-A8D1-4A38-BE45-DEC78E729B50}"/>
          </ac:spMkLst>
        </pc:spChg>
        <pc:spChg chg="mod">
          <ac:chgData name="Mjellma Rukovci" userId="1cef33ed-d906-40ea-a6ff-b70dfef07c29" providerId="ADAL" clId="{05F8623A-7E1F-4FFC-BCCF-9A4CEA66A3D0}" dt="2023-06-07T08:56:43.482" v="69" actId="20577"/>
          <ac:spMkLst>
            <pc:docMk/>
            <pc:sldMk cId="1802899259" sldId="302"/>
            <ac:spMk id="18" creationId="{F61C4C2F-8645-4C86-B2AC-59D3C4A89574}"/>
          </ac:spMkLst>
        </pc:spChg>
      </pc:sldChg>
      <pc:sldChg chg="addCm">
        <pc:chgData name="Mjellma Rukovci" userId="1cef33ed-d906-40ea-a6ff-b70dfef07c29" providerId="ADAL" clId="{05F8623A-7E1F-4FFC-BCCF-9A4CEA66A3D0}" dt="2023-06-07T08:57:10.587" v="70"/>
        <pc:sldMkLst>
          <pc:docMk/>
          <pc:sldMk cId="2181080807" sldId="303"/>
        </pc:sldMkLst>
        <pc:extLst>
          <p:ext xmlns:p="http://schemas.openxmlformats.org/presentationml/2006/main" uri="{D6D511B9-2390-475A-947B-AFAB55BFBCF1}">
            <pc226:cmChg xmlns:pc226="http://schemas.microsoft.com/office/powerpoint/2022/06/main/command" chg="add">
              <pc226:chgData name="Mjellma Rukovci" userId="1cef33ed-d906-40ea-a6ff-b70dfef07c29" providerId="ADAL" clId="{05F8623A-7E1F-4FFC-BCCF-9A4CEA66A3D0}" dt="2023-06-07T08:57:10.587" v="70"/>
              <pc2:cmMkLst xmlns:pc2="http://schemas.microsoft.com/office/powerpoint/2019/9/main/command">
                <pc:docMk/>
                <pc:sldMk cId="2181080807" sldId="303"/>
                <pc2:cmMk id="{B3E8664C-23EE-4A29-BB62-D8ACED6BEBAB}"/>
              </pc2:cmMkLst>
            </pc226:cmChg>
          </p:ext>
        </pc:extLst>
      </pc:sldChg>
      <pc:sldChg chg="addCm">
        <pc:chgData name="Mjellma Rukovci" userId="1cef33ed-d906-40ea-a6ff-b70dfef07c29" providerId="ADAL" clId="{05F8623A-7E1F-4FFC-BCCF-9A4CEA66A3D0}" dt="2023-06-07T08:57:34.571" v="71"/>
        <pc:sldMkLst>
          <pc:docMk/>
          <pc:sldMk cId="3601143944" sldId="306"/>
        </pc:sldMkLst>
        <pc:extLst>
          <p:ext xmlns:p="http://schemas.openxmlformats.org/presentationml/2006/main" uri="{D6D511B9-2390-475A-947B-AFAB55BFBCF1}">
            <pc226:cmChg xmlns:pc226="http://schemas.microsoft.com/office/powerpoint/2022/06/main/command" chg="add">
              <pc226:chgData name="Mjellma Rukovci" userId="1cef33ed-d906-40ea-a6ff-b70dfef07c29" providerId="ADAL" clId="{05F8623A-7E1F-4FFC-BCCF-9A4CEA66A3D0}" dt="2023-06-07T08:57:34.571" v="71"/>
              <pc2:cmMkLst xmlns:pc2="http://schemas.microsoft.com/office/powerpoint/2019/9/main/command">
                <pc:docMk/>
                <pc:sldMk cId="3601143944" sldId="306"/>
                <pc2:cmMk id="{A4FE4816-B0D0-4C7D-A172-50FA53357F41}"/>
              </pc2:cmMkLst>
            </pc226:cmChg>
          </p:ext>
        </pc:extLst>
      </pc:sldChg>
      <pc:sldChg chg="modSp mod">
        <pc:chgData name="Mjellma Rukovci" userId="1cef33ed-d906-40ea-a6ff-b70dfef07c29" providerId="ADAL" clId="{05F8623A-7E1F-4FFC-BCCF-9A4CEA66A3D0}" dt="2023-06-07T08:57:48.835" v="75" actId="20577"/>
        <pc:sldMkLst>
          <pc:docMk/>
          <pc:sldMk cId="1156208337" sldId="926"/>
        </pc:sldMkLst>
        <pc:spChg chg="mod">
          <ac:chgData name="Mjellma Rukovci" userId="1cef33ed-d906-40ea-a6ff-b70dfef07c29" providerId="ADAL" clId="{05F8623A-7E1F-4FFC-BCCF-9A4CEA66A3D0}" dt="2023-06-07T08:57:48.835" v="75" actId="20577"/>
          <ac:spMkLst>
            <pc:docMk/>
            <pc:sldMk cId="1156208337" sldId="926"/>
            <ac:spMk id="15" creationId="{A7BB9B5F-A8D1-4A38-BE45-DEC78E729B50}"/>
          </ac:spMkLst>
        </pc:spChg>
      </pc:sldChg>
      <pc:sldChg chg="addCm">
        <pc:chgData name="Mjellma Rukovci" userId="1cef33ed-d906-40ea-a6ff-b70dfef07c29" providerId="ADAL" clId="{05F8623A-7E1F-4FFC-BCCF-9A4CEA66A3D0}" dt="2023-06-07T08:55:49.532" v="53"/>
        <pc:sldMkLst>
          <pc:docMk/>
          <pc:sldMk cId="2006377789" sldId="927"/>
        </pc:sldMkLst>
        <pc:extLst>
          <p:ext xmlns:p="http://schemas.openxmlformats.org/presentationml/2006/main" uri="{D6D511B9-2390-475A-947B-AFAB55BFBCF1}">
            <pc226:cmChg xmlns:pc226="http://schemas.microsoft.com/office/powerpoint/2022/06/main/command" chg="add">
              <pc226:chgData name="Mjellma Rukovci" userId="1cef33ed-d906-40ea-a6ff-b70dfef07c29" providerId="ADAL" clId="{05F8623A-7E1F-4FFC-BCCF-9A4CEA66A3D0}" dt="2023-06-07T08:55:49.532" v="53"/>
              <pc2:cmMkLst xmlns:pc2="http://schemas.microsoft.com/office/powerpoint/2019/9/main/command">
                <pc:docMk/>
                <pc:sldMk cId="2006377789" sldId="927"/>
                <pc2:cmMk id="{C0AC2433-56EF-48AF-9A02-1A386416826F}"/>
              </pc2:cmMkLst>
            </pc226:cmChg>
          </p:ext>
        </pc:extLst>
      </pc:sldChg>
    </pc:docChg>
  </pc:docChgLst>
  <pc:docChgLst>
    <pc:chgData name="Vita Rexhepi" userId="465ca860-f783-42b0-8ee2-de8a28a6736a" providerId="ADAL" clId="{0B08390F-FDD8-4742-8E82-E81A7F19A08E}"/>
    <pc:docChg chg="undo custSel modSld">
      <pc:chgData name="Vita Rexhepi" userId="465ca860-f783-42b0-8ee2-de8a28a6736a" providerId="ADAL" clId="{0B08390F-FDD8-4742-8E82-E81A7F19A08E}" dt="2023-10-06T07:19:40.387" v="491"/>
      <pc:docMkLst>
        <pc:docMk/>
      </pc:docMkLst>
      <pc:sldChg chg="modTransition modAnim">
        <pc:chgData name="Vita Rexhepi" userId="465ca860-f783-42b0-8ee2-de8a28a6736a" providerId="ADAL" clId="{0B08390F-FDD8-4742-8E82-E81A7F19A08E}" dt="2023-10-05T15:30:07.441" v="223"/>
        <pc:sldMkLst>
          <pc:docMk/>
          <pc:sldMk cId="876605229" sldId="256"/>
        </pc:sldMkLst>
      </pc:sldChg>
      <pc:sldChg chg="modSp mod modAnim">
        <pc:chgData name="Vita Rexhepi" userId="465ca860-f783-42b0-8ee2-de8a28a6736a" providerId="ADAL" clId="{0B08390F-FDD8-4742-8E82-E81A7F19A08E}" dt="2023-10-06T06:59:53.162" v="277"/>
        <pc:sldMkLst>
          <pc:docMk/>
          <pc:sldMk cId="1913331388" sldId="258"/>
        </pc:sldMkLst>
        <pc:spChg chg="mod">
          <ac:chgData name="Vita Rexhepi" userId="465ca860-f783-42b0-8ee2-de8a28a6736a" providerId="ADAL" clId="{0B08390F-FDD8-4742-8E82-E81A7F19A08E}" dt="2023-10-05T15:10:43.701" v="32" actId="1076"/>
          <ac:spMkLst>
            <pc:docMk/>
            <pc:sldMk cId="1913331388" sldId="258"/>
            <ac:spMk id="3" creationId="{C753465B-E1CD-B14B-8447-93B1F189E202}"/>
          </ac:spMkLst>
        </pc:spChg>
      </pc:sldChg>
      <pc:sldChg chg="modSp modAnim">
        <pc:chgData name="Vita Rexhepi" userId="465ca860-f783-42b0-8ee2-de8a28a6736a" providerId="ADAL" clId="{0B08390F-FDD8-4742-8E82-E81A7F19A08E}" dt="2023-10-05T15:21:02.038" v="117" actId="123"/>
        <pc:sldMkLst>
          <pc:docMk/>
          <pc:sldMk cId="2112361714" sldId="259"/>
        </pc:sldMkLst>
        <pc:spChg chg="mod">
          <ac:chgData name="Vita Rexhepi" userId="465ca860-f783-42b0-8ee2-de8a28a6736a" providerId="ADAL" clId="{0B08390F-FDD8-4742-8E82-E81A7F19A08E}" dt="2023-10-05T15:21:02.038" v="117" actId="123"/>
          <ac:spMkLst>
            <pc:docMk/>
            <pc:sldMk cId="2112361714" sldId="259"/>
            <ac:spMk id="19" creationId="{6D59E5B1-17F5-45E4-B46B-A681D9434084}"/>
          </ac:spMkLst>
        </pc:spChg>
      </pc:sldChg>
      <pc:sldChg chg="modAnim">
        <pc:chgData name="Vita Rexhepi" userId="465ca860-f783-42b0-8ee2-de8a28a6736a" providerId="ADAL" clId="{0B08390F-FDD8-4742-8E82-E81A7F19A08E}" dt="2023-10-05T15:29:23.526" v="219"/>
        <pc:sldMkLst>
          <pc:docMk/>
          <pc:sldMk cId="1895001975" sldId="282"/>
        </pc:sldMkLst>
      </pc:sldChg>
      <pc:sldChg chg="modAnim">
        <pc:chgData name="Vita Rexhepi" userId="465ca860-f783-42b0-8ee2-de8a28a6736a" providerId="ADAL" clId="{0B08390F-FDD8-4742-8E82-E81A7F19A08E}" dt="2023-10-05T15:12:39.161" v="54"/>
        <pc:sldMkLst>
          <pc:docMk/>
          <pc:sldMk cId="3169204318" sldId="287"/>
        </pc:sldMkLst>
      </pc:sldChg>
      <pc:sldChg chg="modAnim">
        <pc:chgData name="Vita Rexhepi" userId="465ca860-f783-42b0-8ee2-de8a28a6736a" providerId="ADAL" clId="{0B08390F-FDD8-4742-8E82-E81A7F19A08E}" dt="2023-10-06T07:11:38.348" v="406"/>
        <pc:sldMkLst>
          <pc:docMk/>
          <pc:sldMk cId="3197428341" sldId="290"/>
        </pc:sldMkLst>
      </pc:sldChg>
      <pc:sldChg chg="modSp mod modAnim">
        <pc:chgData name="Vita Rexhepi" userId="465ca860-f783-42b0-8ee2-de8a28a6736a" providerId="ADAL" clId="{0B08390F-FDD8-4742-8E82-E81A7F19A08E}" dt="2023-10-06T07:12:12.430" v="413"/>
        <pc:sldMkLst>
          <pc:docMk/>
          <pc:sldMk cId="3742330078" sldId="291"/>
        </pc:sldMkLst>
        <pc:spChg chg="mod">
          <ac:chgData name="Vita Rexhepi" userId="465ca860-f783-42b0-8ee2-de8a28a6736a" providerId="ADAL" clId="{0B08390F-FDD8-4742-8E82-E81A7F19A08E}" dt="2023-10-05T15:16:35.728" v="89" actId="1035"/>
          <ac:spMkLst>
            <pc:docMk/>
            <pc:sldMk cId="3742330078" sldId="291"/>
            <ac:spMk id="2" creationId="{875129EC-798B-78DD-3573-AED2BF656C92}"/>
          </ac:spMkLst>
        </pc:spChg>
        <pc:spChg chg="mod">
          <ac:chgData name="Vita Rexhepi" userId="465ca860-f783-42b0-8ee2-de8a28a6736a" providerId="ADAL" clId="{0B08390F-FDD8-4742-8E82-E81A7F19A08E}" dt="2023-10-05T15:17:07.676" v="90" actId="12"/>
          <ac:spMkLst>
            <pc:docMk/>
            <pc:sldMk cId="3742330078" sldId="291"/>
            <ac:spMk id="14" creationId="{53C2D7D9-7F5F-47A2-AFFF-81AB26473591}"/>
          </ac:spMkLst>
        </pc:spChg>
      </pc:sldChg>
      <pc:sldChg chg="modAnim">
        <pc:chgData name="Vita Rexhepi" userId="465ca860-f783-42b0-8ee2-de8a28a6736a" providerId="ADAL" clId="{0B08390F-FDD8-4742-8E82-E81A7F19A08E}" dt="2023-10-05T15:30:40.731" v="225"/>
        <pc:sldMkLst>
          <pc:docMk/>
          <pc:sldMk cId="3116769435" sldId="293"/>
        </pc:sldMkLst>
      </pc:sldChg>
      <pc:sldChg chg="modAnim">
        <pc:chgData name="Vita Rexhepi" userId="465ca860-f783-42b0-8ee2-de8a28a6736a" providerId="ADAL" clId="{0B08390F-FDD8-4742-8E82-E81A7F19A08E}" dt="2023-10-05T15:19:54.146" v="113"/>
        <pc:sldMkLst>
          <pc:docMk/>
          <pc:sldMk cId="4066983310" sldId="294"/>
        </pc:sldMkLst>
      </pc:sldChg>
      <pc:sldChg chg="modSp mod modAnim">
        <pc:chgData name="Vita Rexhepi" userId="465ca860-f783-42b0-8ee2-de8a28a6736a" providerId="ADAL" clId="{0B08390F-FDD8-4742-8E82-E81A7F19A08E}" dt="2023-10-06T07:19:40.387" v="491"/>
        <pc:sldMkLst>
          <pc:docMk/>
          <pc:sldMk cId="2782898625" sldId="295"/>
        </pc:sldMkLst>
        <pc:spChg chg="mod">
          <ac:chgData name="Vita Rexhepi" userId="465ca860-f783-42b0-8ee2-de8a28a6736a" providerId="ADAL" clId="{0B08390F-FDD8-4742-8E82-E81A7F19A08E}" dt="2023-10-05T15:06:17.030" v="8" actId="14100"/>
          <ac:spMkLst>
            <pc:docMk/>
            <pc:sldMk cId="2782898625" sldId="295"/>
            <ac:spMk id="15" creationId="{A7BB9B5F-A8D1-4A38-BE45-DEC78E729B50}"/>
          </ac:spMkLst>
        </pc:spChg>
        <pc:spChg chg="mod">
          <ac:chgData name="Vita Rexhepi" userId="465ca860-f783-42b0-8ee2-de8a28a6736a" providerId="ADAL" clId="{0B08390F-FDD8-4742-8E82-E81A7F19A08E}" dt="2023-10-05T15:05:49.794" v="1" actId="20577"/>
          <ac:spMkLst>
            <pc:docMk/>
            <pc:sldMk cId="2782898625" sldId="295"/>
            <ac:spMk id="21" creationId="{9E51F782-6050-ABA6-990D-F7194E164AE4}"/>
          </ac:spMkLst>
        </pc:spChg>
        <pc:grpChg chg="mod">
          <ac:chgData name="Vita Rexhepi" userId="465ca860-f783-42b0-8ee2-de8a28a6736a" providerId="ADAL" clId="{0B08390F-FDD8-4742-8E82-E81A7F19A08E}" dt="2023-10-05T15:06:26.478" v="10" actId="14100"/>
          <ac:grpSpMkLst>
            <pc:docMk/>
            <pc:sldMk cId="2782898625" sldId="295"/>
            <ac:grpSpMk id="20" creationId="{F180F9AD-3AF0-0A4D-4A64-429F73EEF9E5}"/>
          </ac:grpSpMkLst>
        </pc:grpChg>
        <pc:picChg chg="mod">
          <ac:chgData name="Vita Rexhepi" userId="465ca860-f783-42b0-8ee2-de8a28a6736a" providerId="ADAL" clId="{0B08390F-FDD8-4742-8E82-E81A7F19A08E}" dt="2023-10-05T15:08:11.303" v="17" actId="1076"/>
          <ac:picMkLst>
            <pc:docMk/>
            <pc:sldMk cId="2782898625" sldId="295"/>
            <ac:picMk id="14" creationId="{36615048-6B43-7001-3828-2F04E5E377BA}"/>
          </ac:picMkLst>
        </pc:picChg>
        <pc:picChg chg="mod">
          <ac:chgData name="Vita Rexhepi" userId="465ca860-f783-42b0-8ee2-de8a28a6736a" providerId="ADAL" clId="{0B08390F-FDD8-4742-8E82-E81A7F19A08E}" dt="2023-10-05T15:07:41.591" v="13" actId="1076"/>
          <ac:picMkLst>
            <pc:docMk/>
            <pc:sldMk cId="2782898625" sldId="295"/>
            <ac:picMk id="17" creationId="{36AC1A03-9C0F-CD12-7A5E-6D617B4C539C}"/>
          </ac:picMkLst>
        </pc:picChg>
        <pc:picChg chg="mod">
          <ac:chgData name="Vita Rexhepi" userId="465ca860-f783-42b0-8ee2-de8a28a6736a" providerId="ADAL" clId="{0B08390F-FDD8-4742-8E82-E81A7F19A08E}" dt="2023-10-05T15:07:59.805" v="15" actId="1076"/>
          <ac:picMkLst>
            <pc:docMk/>
            <pc:sldMk cId="2782898625" sldId="295"/>
            <ac:picMk id="19" creationId="{47E9AD06-3800-F4C8-CFB2-8168AD4CB22B}"/>
          </ac:picMkLst>
        </pc:picChg>
      </pc:sldChg>
      <pc:sldChg chg="addSp delSp modSp mod delAnim modAnim">
        <pc:chgData name="Vita Rexhepi" userId="465ca860-f783-42b0-8ee2-de8a28a6736a" providerId="ADAL" clId="{0B08390F-FDD8-4742-8E82-E81A7F19A08E}" dt="2023-10-05T15:19:49.497" v="112"/>
        <pc:sldMkLst>
          <pc:docMk/>
          <pc:sldMk cId="2122430467" sldId="296"/>
        </pc:sldMkLst>
        <pc:spChg chg="del topLvl">
          <ac:chgData name="Vita Rexhepi" userId="465ca860-f783-42b0-8ee2-de8a28a6736a" providerId="ADAL" clId="{0B08390F-FDD8-4742-8E82-E81A7F19A08E}" dt="2023-10-05T15:19:27.671" v="106" actId="21"/>
          <ac:spMkLst>
            <pc:docMk/>
            <pc:sldMk cId="2122430467" sldId="296"/>
            <ac:spMk id="2" creationId="{7F546684-20C9-A9B0-64BD-D9F9409B421C}"/>
          </ac:spMkLst>
        </pc:spChg>
        <pc:spChg chg="add mod">
          <ac:chgData name="Vita Rexhepi" userId="465ca860-f783-42b0-8ee2-de8a28a6736a" providerId="ADAL" clId="{0B08390F-FDD8-4742-8E82-E81A7F19A08E}" dt="2023-10-05T15:19:33.985" v="107"/>
          <ac:spMkLst>
            <pc:docMk/>
            <pc:sldMk cId="2122430467" sldId="296"/>
            <ac:spMk id="8" creationId="{C371350A-4872-C876-59E9-52CC11852772}"/>
          </ac:spMkLst>
        </pc:spChg>
        <pc:spChg chg="topLvl">
          <ac:chgData name="Vita Rexhepi" userId="465ca860-f783-42b0-8ee2-de8a28a6736a" providerId="ADAL" clId="{0B08390F-FDD8-4742-8E82-E81A7F19A08E}" dt="2023-10-05T15:19:27.671" v="106" actId="21"/>
          <ac:spMkLst>
            <pc:docMk/>
            <pc:sldMk cId="2122430467" sldId="296"/>
            <ac:spMk id="14" creationId="{CE109736-C057-F8A9-D331-A111AB331DAE}"/>
          </ac:spMkLst>
        </pc:spChg>
        <pc:grpChg chg="del mod">
          <ac:chgData name="Vita Rexhepi" userId="465ca860-f783-42b0-8ee2-de8a28a6736a" providerId="ADAL" clId="{0B08390F-FDD8-4742-8E82-E81A7F19A08E}" dt="2023-10-05T15:19:27.671" v="106" actId="21"/>
          <ac:grpSpMkLst>
            <pc:docMk/>
            <pc:sldMk cId="2122430467" sldId="296"/>
            <ac:grpSpMk id="4" creationId="{75FAAE74-655D-DF6B-B2B6-49ECA767B138}"/>
          </ac:grpSpMkLst>
        </pc:grpChg>
      </pc:sldChg>
      <pc:sldChg chg="modAnim">
        <pc:chgData name="Vita Rexhepi" userId="465ca860-f783-42b0-8ee2-de8a28a6736a" providerId="ADAL" clId="{0B08390F-FDD8-4742-8E82-E81A7F19A08E}" dt="2023-10-06T07:08:49.029" v="358"/>
        <pc:sldMkLst>
          <pc:docMk/>
          <pc:sldMk cId="2318522847" sldId="297"/>
        </pc:sldMkLst>
      </pc:sldChg>
      <pc:sldChg chg="modAnim">
        <pc:chgData name="Vita Rexhepi" userId="465ca860-f783-42b0-8ee2-de8a28a6736a" providerId="ADAL" clId="{0B08390F-FDD8-4742-8E82-E81A7F19A08E}" dt="2023-10-05T15:14:14.993" v="67"/>
        <pc:sldMkLst>
          <pc:docMk/>
          <pc:sldMk cId="670327803" sldId="928"/>
        </pc:sldMkLst>
      </pc:sldChg>
    </pc:docChg>
  </pc:docChgLst>
  <pc:docChgLst>
    <pc:chgData name="Florent Ferizaj" userId="1ac95d67-9df5-47eb-b975-9543de642a3b" providerId="ADAL" clId="{7D2992CB-FEC3-4474-83E3-88103EE158FC}"/>
    <pc:docChg chg="undo custSel modSld">
      <pc:chgData name="Florent Ferizaj" userId="1ac95d67-9df5-47eb-b975-9543de642a3b" providerId="ADAL" clId="{7D2992CB-FEC3-4474-83E3-88103EE158FC}" dt="2023-06-07T08:25:22.042" v="63" actId="14826"/>
      <pc:docMkLst>
        <pc:docMk/>
      </pc:docMkLst>
      <pc:sldChg chg="modSp">
        <pc:chgData name="Florent Ferizaj" userId="1ac95d67-9df5-47eb-b975-9543de642a3b" providerId="ADAL" clId="{7D2992CB-FEC3-4474-83E3-88103EE158FC}" dt="2023-06-07T08:24:58.203" v="60" actId="14826"/>
        <pc:sldMkLst>
          <pc:docMk/>
          <pc:sldMk cId="876605229" sldId="256"/>
        </pc:sldMkLst>
        <pc:picChg chg="mod">
          <ac:chgData name="Florent Ferizaj" userId="1ac95d67-9df5-47eb-b975-9543de642a3b" providerId="ADAL" clId="{7D2992CB-FEC3-4474-83E3-88103EE158FC}" dt="2023-06-07T08:24:58.203" v="60" actId="14826"/>
          <ac:picMkLst>
            <pc:docMk/>
            <pc:sldMk cId="876605229" sldId="256"/>
            <ac:picMk id="13" creationId="{0F702FEF-8991-46FB-3E41-A2BA3965F9A8}"/>
          </ac:picMkLst>
        </pc:picChg>
      </pc:sldChg>
      <pc:sldChg chg="addSp delSp modSp">
        <pc:chgData name="Florent Ferizaj" userId="1ac95d67-9df5-47eb-b975-9543de642a3b" providerId="ADAL" clId="{7D2992CB-FEC3-4474-83E3-88103EE158FC}" dt="2023-06-07T08:25:05.816" v="61" actId="14826"/>
        <pc:sldMkLst>
          <pc:docMk/>
          <pc:sldMk cId="1913331388" sldId="258"/>
        </pc:sldMkLst>
        <pc:spChg chg="add del">
          <ac:chgData name="Florent Ferizaj" userId="1ac95d67-9df5-47eb-b975-9543de642a3b" providerId="ADAL" clId="{7D2992CB-FEC3-4474-83E3-88103EE158FC}" dt="2023-06-07T07:24:44.527" v="2"/>
          <ac:spMkLst>
            <pc:docMk/>
            <pc:sldMk cId="1913331388" sldId="258"/>
            <ac:spMk id="5" creationId="{5E04ACF3-B300-4C05-B801-44465967BD1B}"/>
          </ac:spMkLst>
        </pc:spChg>
        <pc:picChg chg="add del mod">
          <ac:chgData name="Florent Ferizaj" userId="1ac95d67-9df5-47eb-b975-9543de642a3b" providerId="ADAL" clId="{7D2992CB-FEC3-4474-83E3-88103EE158FC}" dt="2023-06-07T07:24:42.313" v="1"/>
          <ac:picMkLst>
            <pc:docMk/>
            <pc:sldMk cId="1913331388" sldId="258"/>
            <ac:picMk id="3" creationId="{0288EE9A-3288-6E19-5CB0-BE68AA50C6DB}"/>
          </ac:picMkLst>
        </pc:picChg>
        <pc:picChg chg="add mod">
          <ac:chgData name="Florent Ferizaj" userId="1ac95d67-9df5-47eb-b975-9543de642a3b" providerId="ADAL" clId="{7D2992CB-FEC3-4474-83E3-88103EE158FC}" dt="2023-06-07T08:25:05.816" v="61" actId="14826"/>
          <ac:picMkLst>
            <pc:docMk/>
            <pc:sldMk cId="1913331388" sldId="258"/>
            <ac:picMk id="7" creationId="{31746AB0-DB8F-BCCA-7504-E45201A8FD33}"/>
          </ac:picMkLst>
        </pc:picChg>
      </pc:sldChg>
      <pc:sldChg chg="addSp delSp modSp mod">
        <pc:chgData name="Florent Ferizaj" userId="1ac95d67-9df5-47eb-b975-9543de642a3b" providerId="ADAL" clId="{7D2992CB-FEC3-4474-83E3-88103EE158FC}" dt="2023-06-07T08:25:22.042" v="63" actId="14826"/>
        <pc:sldMkLst>
          <pc:docMk/>
          <pc:sldMk cId="1895001975" sldId="282"/>
        </pc:sldMkLst>
        <pc:spChg chg="add del">
          <ac:chgData name="Florent Ferizaj" userId="1ac95d67-9df5-47eb-b975-9543de642a3b" providerId="ADAL" clId="{7D2992CB-FEC3-4474-83E3-88103EE158FC}" dt="2023-06-07T07:30:27.919" v="10"/>
          <ac:spMkLst>
            <pc:docMk/>
            <pc:sldMk cId="1895001975" sldId="282"/>
            <ac:spMk id="35" creationId="{A8A340DD-5AA7-64D0-224B-70CF1A7D1339}"/>
          </ac:spMkLst>
        </pc:spChg>
        <pc:picChg chg="add del mod">
          <ac:chgData name="Florent Ferizaj" userId="1ac95d67-9df5-47eb-b975-9543de642a3b" providerId="ADAL" clId="{7D2992CB-FEC3-4474-83E3-88103EE158FC}" dt="2023-06-07T07:29:37.135" v="7"/>
          <ac:picMkLst>
            <pc:docMk/>
            <pc:sldMk cId="1895001975" sldId="282"/>
            <ac:picMk id="3" creationId="{344D4B07-9881-491D-4C8A-1AF8BD64D147}"/>
          </ac:picMkLst>
        </pc:picChg>
        <pc:picChg chg="add del mod">
          <ac:chgData name="Florent Ferizaj" userId="1ac95d67-9df5-47eb-b975-9543de642a3b" providerId="ADAL" clId="{7D2992CB-FEC3-4474-83E3-88103EE158FC}" dt="2023-06-07T07:29:52.597" v="9"/>
          <ac:picMkLst>
            <pc:docMk/>
            <pc:sldMk cId="1895001975" sldId="282"/>
            <ac:picMk id="5" creationId="{EA8195B4-D744-4D5B-7A03-BE31E1A84DAF}"/>
          </ac:picMkLst>
        </pc:picChg>
        <pc:picChg chg="add mod">
          <ac:chgData name="Florent Ferizaj" userId="1ac95d67-9df5-47eb-b975-9543de642a3b" providerId="ADAL" clId="{7D2992CB-FEC3-4474-83E3-88103EE158FC}" dt="2023-06-07T08:25:22.042" v="63" actId="14826"/>
          <ac:picMkLst>
            <pc:docMk/>
            <pc:sldMk cId="1895001975" sldId="282"/>
            <ac:picMk id="7" creationId="{0E24C124-4AF8-F0A1-7B76-C1AB9971D52F}"/>
          </ac:picMkLst>
        </pc:picChg>
      </pc:sldChg>
      <pc:sldChg chg="addSp delSp modSp mod">
        <pc:chgData name="Florent Ferizaj" userId="1ac95d67-9df5-47eb-b975-9543de642a3b" providerId="ADAL" clId="{7D2992CB-FEC3-4474-83E3-88103EE158FC}" dt="2023-06-07T08:25:16.642" v="62" actId="14826"/>
        <pc:sldMkLst>
          <pc:docMk/>
          <pc:sldMk cId="297762828" sldId="284"/>
        </pc:sldMkLst>
        <pc:spChg chg="del">
          <ac:chgData name="Florent Ferizaj" userId="1ac95d67-9df5-47eb-b975-9543de642a3b" providerId="ADAL" clId="{7D2992CB-FEC3-4474-83E3-88103EE158FC}" dt="2023-06-07T07:27:53.427" v="5"/>
          <ac:spMkLst>
            <pc:docMk/>
            <pc:sldMk cId="297762828" sldId="284"/>
            <ac:spMk id="3" creationId="{35695782-7190-4ADE-B7D6-7253654AB2C3}"/>
          </ac:spMkLst>
        </pc:spChg>
        <pc:spChg chg="mod ord">
          <ac:chgData name="Florent Ferizaj" userId="1ac95d67-9df5-47eb-b975-9543de642a3b" providerId="ADAL" clId="{7D2992CB-FEC3-4474-83E3-88103EE158FC}" dt="2023-06-07T07:49:58.920" v="55" actId="166"/>
          <ac:spMkLst>
            <pc:docMk/>
            <pc:sldMk cId="297762828" sldId="284"/>
            <ac:spMk id="25" creationId="{35EF2D93-928F-45AB-BF90-8AA7F3F168D7}"/>
          </ac:spMkLst>
        </pc:spChg>
        <pc:picChg chg="add mod">
          <ac:chgData name="Florent Ferizaj" userId="1ac95d67-9df5-47eb-b975-9543de642a3b" providerId="ADAL" clId="{7D2992CB-FEC3-4474-83E3-88103EE158FC}" dt="2023-06-07T08:25:16.642" v="62" actId="14826"/>
          <ac:picMkLst>
            <pc:docMk/>
            <pc:sldMk cId="297762828" sldId="284"/>
            <ac:picMk id="4" creationId="{38DC210B-12C2-8C5A-8F5E-CD9E95F7D586}"/>
          </ac:picMkLst>
        </pc:picChg>
      </pc:sldChg>
      <pc:sldChg chg="addSp delSp modSp mod">
        <pc:chgData name="Florent Ferizaj" userId="1ac95d67-9df5-47eb-b975-9543de642a3b" providerId="ADAL" clId="{7D2992CB-FEC3-4474-83E3-88103EE158FC}" dt="2023-06-07T07:43:56.956" v="49" actId="12788"/>
        <pc:sldMkLst>
          <pc:docMk/>
          <pc:sldMk cId="709132276" sldId="286"/>
        </pc:sldMkLst>
        <pc:grpChg chg="add del">
          <ac:chgData name="Florent Ferizaj" userId="1ac95d67-9df5-47eb-b975-9543de642a3b" providerId="ADAL" clId="{7D2992CB-FEC3-4474-83E3-88103EE158FC}" dt="2023-06-07T07:43:45.247" v="46" actId="478"/>
          <ac:grpSpMkLst>
            <pc:docMk/>
            <pc:sldMk cId="709132276" sldId="286"/>
            <ac:grpSpMk id="2" creationId="{F460D30A-86B0-B9F1-8933-CBBC9514F165}"/>
          </ac:grpSpMkLst>
        </pc:grpChg>
        <pc:picChg chg="add del mod">
          <ac:chgData name="Florent Ferizaj" userId="1ac95d67-9df5-47eb-b975-9543de642a3b" providerId="ADAL" clId="{7D2992CB-FEC3-4474-83E3-88103EE158FC}" dt="2023-06-07T07:43:14.200" v="39"/>
          <ac:picMkLst>
            <pc:docMk/>
            <pc:sldMk cId="709132276" sldId="286"/>
            <ac:picMk id="28" creationId="{5FC67198-BB42-3279-DBE8-266C22453F0D}"/>
          </ac:picMkLst>
        </pc:picChg>
        <pc:picChg chg="add mod ord">
          <ac:chgData name="Florent Ferizaj" userId="1ac95d67-9df5-47eb-b975-9543de642a3b" providerId="ADAL" clId="{7D2992CB-FEC3-4474-83E3-88103EE158FC}" dt="2023-06-07T07:43:56.956" v="49" actId="12788"/>
          <ac:picMkLst>
            <pc:docMk/>
            <pc:sldMk cId="709132276" sldId="286"/>
            <ac:picMk id="30" creationId="{CF6B7188-4D7F-C334-EA11-ED4F3A5F3E87}"/>
          </ac:picMkLst>
        </pc:picChg>
      </pc:sldChg>
      <pc:sldChg chg="modSp mod">
        <pc:chgData name="Florent Ferizaj" userId="1ac95d67-9df5-47eb-b975-9543de642a3b" providerId="ADAL" clId="{7D2992CB-FEC3-4474-83E3-88103EE158FC}" dt="2023-06-07T07:33:35.068" v="30" actId="20577"/>
        <pc:sldMkLst>
          <pc:docMk/>
          <pc:sldMk cId="2122430467" sldId="296"/>
        </pc:sldMkLst>
        <pc:spChg chg="mod">
          <ac:chgData name="Florent Ferizaj" userId="1ac95d67-9df5-47eb-b975-9543de642a3b" providerId="ADAL" clId="{7D2992CB-FEC3-4474-83E3-88103EE158FC}" dt="2023-06-07T07:33:35.068" v="30" actId="20577"/>
          <ac:spMkLst>
            <pc:docMk/>
            <pc:sldMk cId="2122430467" sldId="296"/>
            <ac:spMk id="14" creationId="{CE109736-C057-F8A9-D331-A111AB331DAE}"/>
          </ac:spMkLst>
        </pc:spChg>
      </pc:sldChg>
      <pc:sldChg chg="addSp modSp modAnim">
        <pc:chgData name="Florent Ferizaj" userId="1ac95d67-9df5-47eb-b975-9543de642a3b" providerId="ADAL" clId="{7D2992CB-FEC3-4474-83E3-88103EE158FC}" dt="2023-06-07T07:40:40.871" v="34"/>
        <pc:sldMkLst>
          <pc:docMk/>
          <pc:sldMk cId="69507226" sldId="300"/>
        </pc:sldMkLst>
        <pc:spChg chg="add mod">
          <ac:chgData name="Florent Ferizaj" userId="1ac95d67-9df5-47eb-b975-9543de642a3b" providerId="ADAL" clId="{7D2992CB-FEC3-4474-83E3-88103EE158FC}" dt="2023-06-07T07:40:16.466" v="32" actId="571"/>
          <ac:spMkLst>
            <pc:docMk/>
            <pc:sldMk cId="69507226" sldId="300"/>
            <ac:spMk id="2" creationId="{BB81FA65-C370-0505-C681-CD020112C5F9}"/>
          </ac:spMkLst>
        </pc:spChg>
        <pc:spChg chg="add mod">
          <ac:chgData name="Florent Ferizaj" userId="1ac95d67-9df5-47eb-b975-9543de642a3b" providerId="ADAL" clId="{7D2992CB-FEC3-4474-83E3-88103EE158FC}" dt="2023-06-07T07:40:16.466" v="32" actId="571"/>
          <ac:spMkLst>
            <pc:docMk/>
            <pc:sldMk cId="69507226" sldId="300"/>
            <ac:spMk id="5" creationId="{29EC396D-0F68-5612-8C94-61C4F66551B3}"/>
          </ac:spMkLst>
        </pc:spChg>
        <pc:spChg chg="add mod">
          <ac:chgData name="Florent Ferizaj" userId="1ac95d67-9df5-47eb-b975-9543de642a3b" providerId="ADAL" clId="{7D2992CB-FEC3-4474-83E3-88103EE158FC}" dt="2023-06-07T07:40:16.466" v="32" actId="571"/>
          <ac:spMkLst>
            <pc:docMk/>
            <pc:sldMk cId="69507226" sldId="300"/>
            <ac:spMk id="13" creationId="{F97566B1-EB64-2CD8-7444-05C2EB8A678B}"/>
          </ac:spMkLst>
        </pc:spChg>
        <pc:spChg chg="add mod">
          <ac:chgData name="Florent Ferizaj" userId="1ac95d67-9df5-47eb-b975-9543de642a3b" providerId="ADAL" clId="{7D2992CB-FEC3-4474-83E3-88103EE158FC}" dt="2023-06-07T07:40:16.466" v="32" actId="571"/>
          <ac:spMkLst>
            <pc:docMk/>
            <pc:sldMk cId="69507226" sldId="300"/>
            <ac:spMk id="15" creationId="{74BC72A6-AE1E-0AA7-7483-1989959B74E3}"/>
          </ac:spMkLst>
        </pc:spChg>
      </pc:sldChg>
      <pc:sldChg chg="modSp mod">
        <pc:chgData name="Florent Ferizaj" userId="1ac95d67-9df5-47eb-b975-9543de642a3b" providerId="ADAL" clId="{7D2992CB-FEC3-4474-83E3-88103EE158FC}" dt="2023-06-07T07:31:39.984" v="26" actId="1076"/>
        <pc:sldMkLst>
          <pc:docMk/>
          <pc:sldMk cId="3601143944" sldId="306"/>
        </pc:sldMkLst>
        <pc:spChg chg="mod">
          <ac:chgData name="Florent Ferizaj" userId="1ac95d67-9df5-47eb-b975-9543de642a3b" providerId="ADAL" clId="{7D2992CB-FEC3-4474-83E3-88103EE158FC}" dt="2023-06-07T07:31:39.984" v="26" actId="1076"/>
          <ac:spMkLst>
            <pc:docMk/>
            <pc:sldMk cId="3601143944" sldId="306"/>
            <ac:spMk id="21" creationId="{1C71675E-5AD2-46FA-AE5F-53DC9101A4B7}"/>
          </ac:spMkLst>
        </pc:spChg>
      </pc:sldChg>
      <pc:sldChg chg="modSp mod">
        <pc:chgData name="Florent Ferizaj" userId="1ac95d67-9df5-47eb-b975-9543de642a3b" providerId="ADAL" clId="{7D2992CB-FEC3-4474-83E3-88103EE158FC}" dt="2023-06-07T07:31:31.129" v="24" actId="207"/>
        <pc:sldMkLst>
          <pc:docMk/>
          <pc:sldMk cId="1156208337" sldId="926"/>
        </pc:sldMkLst>
        <pc:spChg chg="mod">
          <ac:chgData name="Florent Ferizaj" userId="1ac95d67-9df5-47eb-b975-9543de642a3b" providerId="ADAL" clId="{7D2992CB-FEC3-4474-83E3-88103EE158FC}" dt="2023-06-07T07:31:23.242" v="23" actId="207"/>
          <ac:spMkLst>
            <pc:docMk/>
            <pc:sldMk cId="1156208337" sldId="926"/>
            <ac:spMk id="12" creationId="{6F3DB945-A4E4-406F-96D0-C61904F93FED}"/>
          </ac:spMkLst>
        </pc:spChg>
        <pc:spChg chg="mod">
          <ac:chgData name="Florent Ferizaj" userId="1ac95d67-9df5-47eb-b975-9543de642a3b" providerId="ADAL" clId="{7D2992CB-FEC3-4474-83E3-88103EE158FC}" dt="2023-06-07T07:31:31.129" v="24" actId="207"/>
          <ac:spMkLst>
            <pc:docMk/>
            <pc:sldMk cId="1156208337" sldId="926"/>
            <ac:spMk id="16" creationId="{C1E3FDAF-144E-4437-A796-263CD64155B3}"/>
          </ac:spMkLst>
        </pc:spChg>
        <pc:spChg chg="mod">
          <ac:chgData name="Florent Ferizaj" userId="1ac95d67-9df5-47eb-b975-9543de642a3b" providerId="ADAL" clId="{7D2992CB-FEC3-4474-83E3-88103EE158FC}" dt="2023-06-07T07:31:16.767" v="21" actId="207"/>
          <ac:spMkLst>
            <pc:docMk/>
            <pc:sldMk cId="1156208337" sldId="926"/>
            <ac:spMk id="19" creationId="{F96D8484-79AE-4F18-9BB3-B4FE2FE0173D}"/>
          </ac:spMkLst>
        </pc:spChg>
      </pc:sldChg>
      <pc:sldChg chg="addSp delSp modSp">
        <pc:chgData name="Florent Ferizaj" userId="1ac95d67-9df5-47eb-b975-9543de642a3b" providerId="ADAL" clId="{7D2992CB-FEC3-4474-83E3-88103EE158FC}" dt="2023-06-07T08:24:49.691" v="59" actId="14826"/>
        <pc:sldMkLst>
          <pc:docMk/>
          <pc:sldMk cId="4135484729" sldId="928"/>
        </pc:sldMkLst>
        <pc:spChg chg="del">
          <ac:chgData name="Florent Ferizaj" userId="1ac95d67-9df5-47eb-b975-9543de642a3b" providerId="ADAL" clId="{7D2992CB-FEC3-4474-83E3-88103EE158FC}" dt="2023-06-07T07:27:37.997" v="4"/>
          <ac:spMkLst>
            <pc:docMk/>
            <pc:sldMk cId="4135484729" sldId="928"/>
            <ac:spMk id="9" creationId="{F4BCD579-60F5-C2D4-6E77-A2EAEBC7928A}"/>
          </ac:spMkLst>
        </pc:spChg>
        <pc:picChg chg="add mod">
          <ac:chgData name="Florent Ferizaj" userId="1ac95d67-9df5-47eb-b975-9543de642a3b" providerId="ADAL" clId="{7D2992CB-FEC3-4474-83E3-88103EE158FC}" dt="2023-06-07T08:24:49.691" v="59" actId="14826"/>
          <ac:picMkLst>
            <pc:docMk/>
            <pc:sldMk cId="4135484729" sldId="928"/>
            <ac:picMk id="5" creationId="{A4D4FD6F-A257-6353-61F6-945AC30375FF}"/>
          </ac:picMkLst>
        </pc:picChg>
      </pc:sldChg>
    </pc:docChg>
  </pc:docChgLst>
  <pc:docChgLst>
    <pc:chgData name="Florent Ferizaj" userId="1ac95d67-9df5-47eb-b975-9543de642a3b" providerId="ADAL" clId="{14C92A01-973B-41D4-8BEC-84BE133B9246}"/>
    <pc:docChg chg="undo custSel addSld delSld modSld modSection">
      <pc:chgData name="Florent Ferizaj" userId="1ac95d67-9df5-47eb-b975-9543de642a3b" providerId="ADAL" clId="{14C92A01-973B-41D4-8BEC-84BE133B9246}" dt="2023-10-06T07:38:58.417" v="2645" actId="1076"/>
      <pc:docMkLst>
        <pc:docMk/>
      </pc:docMkLst>
      <pc:sldChg chg="addSp delSp modSp mod">
        <pc:chgData name="Florent Ferizaj" userId="1ac95d67-9df5-47eb-b975-9543de642a3b" providerId="ADAL" clId="{14C92A01-973B-41D4-8BEC-84BE133B9246}" dt="2023-10-05T09:53:09.724" v="2192" actId="20577"/>
        <pc:sldMkLst>
          <pc:docMk/>
          <pc:sldMk cId="876605229" sldId="256"/>
        </pc:sldMkLst>
        <pc:spChg chg="mod topLvl">
          <ac:chgData name="Florent Ferizaj" userId="1ac95d67-9df5-47eb-b975-9543de642a3b" providerId="ADAL" clId="{14C92A01-973B-41D4-8BEC-84BE133B9246}" dt="2023-10-05T09:53:09.724" v="2192" actId="20577"/>
          <ac:spMkLst>
            <pc:docMk/>
            <pc:sldMk cId="876605229" sldId="256"/>
            <ac:spMk id="6" creationId="{F1BA98F5-FB0E-483C-9755-9C0CEB604EDD}"/>
          </ac:spMkLst>
        </pc:spChg>
        <pc:spChg chg="mod topLvl">
          <ac:chgData name="Florent Ferizaj" userId="1ac95d67-9df5-47eb-b975-9543de642a3b" providerId="ADAL" clId="{14C92A01-973B-41D4-8BEC-84BE133B9246}" dt="2023-10-05T09:52:53.390" v="2186" actId="165"/>
          <ac:spMkLst>
            <pc:docMk/>
            <pc:sldMk cId="876605229" sldId="256"/>
            <ac:spMk id="7" creationId="{EB869A89-72E8-44EB-A86F-C473D79061CA}"/>
          </ac:spMkLst>
        </pc:spChg>
        <pc:spChg chg="del mod">
          <ac:chgData name="Florent Ferizaj" userId="1ac95d67-9df5-47eb-b975-9543de642a3b" providerId="ADAL" clId="{14C92A01-973B-41D4-8BEC-84BE133B9246}" dt="2023-10-05T07:25:25.994" v="1910" actId="478"/>
          <ac:spMkLst>
            <pc:docMk/>
            <pc:sldMk cId="876605229" sldId="256"/>
            <ac:spMk id="22" creationId="{E21B5456-769B-4E15-B7B5-D95722549991}"/>
          </ac:spMkLst>
        </pc:spChg>
        <pc:grpChg chg="add del mod">
          <ac:chgData name="Florent Ferizaj" userId="1ac95d67-9df5-47eb-b975-9543de642a3b" providerId="ADAL" clId="{14C92A01-973B-41D4-8BEC-84BE133B9246}" dt="2023-10-05T07:27:40.282" v="1960" actId="165"/>
          <ac:grpSpMkLst>
            <pc:docMk/>
            <pc:sldMk cId="876605229" sldId="256"/>
            <ac:grpSpMk id="2" creationId="{099D8A20-49DB-93AA-280F-5C6C75C9D545}"/>
          </ac:grpSpMkLst>
        </pc:grpChg>
        <pc:grpChg chg="add del mod">
          <ac:chgData name="Florent Ferizaj" userId="1ac95d67-9df5-47eb-b975-9543de642a3b" providerId="ADAL" clId="{14C92A01-973B-41D4-8BEC-84BE133B9246}" dt="2023-10-05T09:52:53.390" v="2186" actId="165"/>
          <ac:grpSpMkLst>
            <pc:docMk/>
            <pc:sldMk cId="876605229" sldId="256"/>
            <ac:grpSpMk id="3" creationId="{BB37826B-48D3-7A96-7B3B-BDE419ACE0B7}"/>
          </ac:grpSpMkLst>
        </pc:grpChg>
        <pc:picChg chg="add del mod">
          <ac:chgData name="Florent Ferizaj" userId="1ac95d67-9df5-47eb-b975-9543de642a3b" providerId="ADAL" clId="{14C92A01-973B-41D4-8BEC-84BE133B9246}" dt="2023-10-05T07:36:03.831" v="2073" actId="21"/>
          <ac:picMkLst>
            <pc:docMk/>
            <pc:sldMk cId="876605229" sldId="256"/>
            <ac:picMk id="2" creationId="{17BA7006-D9E0-B6E2-3766-F59D72EF4042}"/>
          </ac:picMkLst>
        </pc:picChg>
        <pc:picChg chg="mod">
          <ac:chgData name="Florent Ferizaj" userId="1ac95d67-9df5-47eb-b975-9543de642a3b" providerId="ADAL" clId="{14C92A01-973B-41D4-8BEC-84BE133B9246}" dt="2023-10-05T07:25:16.205" v="1909" actId="14100"/>
          <ac:picMkLst>
            <pc:docMk/>
            <pc:sldMk cId="876605229" sldId="256"/>
            <ac:picMk id="13" creationId="{0F702FEF-8991-46FB-3E41-A2BA3965F9A8}"/>
          </ac:picMkLst>
        </pc:picChg>
      </pc:sldChg>
      <pc:sldChg chg="addSp delSp modSp mod">
        <pc:chgData name="Florent Ferizaj" userId="1ac95d67-9df5-47eb-b975-9543de642a3b" providerId="ADAL" clId="{14C92A01-973B-41D4-8BEC-84BE133B9246}" dt="2023-10-05T07:36:06.574" v="2075"/>
        <pc:sldMkLst>
          <pc:docMk/>
          <pc:sldMk cId="1913331388" sldId="258"/>
        </pc:sldMkLst>
        <pc:spChg chg="add mod">
          <ac:chgData name="Florent Ferizaj" userId="1ac95d67-9df5-47eb-b975-9543de642a3b" providerId="ADAL" clId="{14C92A01-973B-41D4-8BEC-84BE133B9246}" dt="2023-10-05T06:53:22.089" v="1502" actId="1036"/>
          <ac:spMkLst>
            <pc:docMk/>
            <pc:sldMk cId="1913331388" sldId="258"/>
            <ac:spMk id="2" creationId="{79CE79F0-8995-DD8A-CDD8-0444E73A2F2A}"/>
          </ac:spMkLst>
        </pc:spChg>
        <pc:spChg chg="add mod">
          <ac:chgData name="Florent Ferizaj" userId="1ac95d67-9df5-47eb-b975-9543de642a3b" providerId="ADAL" clId="{14C92A01-973B-41D4-8BEC-84BE133B9246}" dt="2023-10-05T06:53:05.699" v="1500" actId="207"/>
          <ac:spMkLst>
            <pc:docMk/>
            <pc:sldMk cId="1913331388" sldId="258"/>
            <ac:spMk id="3" creationId="{C753465B-E1CD-B14B-8447-93B1F189E202}"/>
          </ac:spMkLst>
        </pc:spChg>
        <pc:spChg chg="mod">
          <ac:chgData name="Florent Ferizaj" userId="1ac95d67-9df5-47eb-b975-9543de642a3b" providerId="ADAL" clId="{14C92A01-973B-41D4-8BEC-84BE133B9246}" dt="2023-10-05T06:53:05.699" v="1500" actId="207"/>
          <ac:spMkLst>
            <pc:docMk/>
            <pc:sldMk cId="1913331388" sldId="258"/>
            <ac:spMk id="4" creationId="{4C4ED167-212B-4251-BB15-9710397D8A68}"/>
          </ac:spMkLst>
        </pc:spChg>
        <pc:spChg chg="mod">
          <ac:chgData name="Florent Ferizaj" userId="1ac95d67-9df5-47eb-b975-9543de642a3b" providerId="ADAL" clId="{14C92A01-973B-41D4-8BEC-84BE133B9246}" dt="2023-10-05T07:33:46.636" v="2015" actId="207"/>
          <ac:spMkLst>
            <pc:docMk/>
            <pc:sldMk cId="1913331388" sldId="258"/>
            <ac:spMk id="12" creationId="{B1AA5B3D-189F-469A-AF1F-3E6C412EA334}"/>
          </ac:spMkLst>
        </pc:spChg>
        <pc:spChg chg="mod">
          <ac:chgData name="Florent Ferizaj" userId="1ac95d67-9df5-47eb-b975-9543de642a3b" providerId="ADAL" clId="{14C92A01-973B-41D4-8BEC-84BE133B9246}" dt="2023-10-05T07:35:06.176" v="2029" actId="1076"/>
          <ac:spMkLst>
            <pc:docMk/>
            <pc:sldMk cId="1913331388" sldId="258"/>
            <ac:spMk id="14" creationId="{802D7617-9E21-47A6-A249-A8B9100923DA}"/>
          </ac:spMkLst>
        </pc:spChg>
        <pc:spChg chg="del mod">
          <ac:chgData name="Florent Ferizaj" userId="1ac95d67-9df5-47eb-b975-9543de642a3b" providerId="ADAL" clId="{14C92A01-973B-41D4-8BEC-84BE133B9246}" dt="2023-10-04T13:26:33.260" v="202" actId="478"/>
          <ac:spMkLst>
            <pc:docMk/>
            <pc:sldMk cId="1913331388" sldId="258"/>
            <ac:spMk id="15" creationId="{1AF14D7D-3A38-47CB-9165-3CD046DF94B0}"/>
          </ac:spMkLst>
        </pc:spChg>
        <pc:spChg chg="mod">
          <ac:chgData name="Florent Ferizaj" userId="1ac95d67-9df5-47eb-b975-9543de642a3b" providerId="ADAL" clId="{14C92A01-973B-41D4-8BEC-84BE133B9246}" dt="2023-10-05T06:53:16.915" v="1501" actId="207"/>
          <ac:spMkLst>
            <pc:docMk/>
            <pc:sldMk cId="1913331388" sldId="258"/>
            <ac:spMk id="18" creationId="{8B87F45C-AD12-41DC-ACE2-69886FBF392D}"/>
          </ac:spMkLst>
        </pc:spChg>
        <pc:spChg chg="mod">
          <ac:chgData name="Florent Ferizaj" userId="1ac95d67-9df5-47eb-b975-9543de642a3b" providerId="ADAL" clId="{14C92A01-973B-41D4-8BEC-84BE133B9246}" dt="2023-10-04T13:36:06.255" v="395" actId="1076"/>
          <ac:spMkLst>
            <pc:docMk/>
            <pc:sldMk cId="1913331388" sldId="258"/>
            <ac:spMk id="20" creationId="{233F71C4-8B1A-47D4-8697-654EFBD5F2DB}"/>
          </ac:spMkLst>
        </pc:spChg>
        <pc:picChg chg="add del mod">
          <ac:chgData name="Florent Ferizaj" userId="1ac95d67-9df5-47eb-b975-9543de642a3b" providerId="ADAL" clId="{14C92A01-973B-41D4-8BEC-84BE133B9246}" dt="2023-10-05T07:36:06.195" v="2074" actId="478"/>
          <ac:picMkLst>
            <pc:docMk/>
            <pc:sldMk cId="1913331388" sldId="258"/>
            <ac:picMk id="6" creationId="{9F228BDD-9532-0387-F837-AF677FC13E88}"/>
          </ac:picMkLst>
        </pc:picChg>
        <pc:picChg chg="mod">
          <ac:chgData name="Florent Ferizaj" userId="1ac95d67-9df5-47eb-b975-9543de642a3b" providerId="ADAL" clId="{14C92A01-973B-41D4-8BEC-84BE133B9246}" dt="2023-10-05T07:30:43.419" v="2013" actId="14826"/>
          <ac:picMkLst>
            <pc:docMk/>
            <pc:sldMk cId="1913331388" sldId="258"/>
            <ac:picMk id="7" creationId="{31746AB0-DB8F-BCCA-7504-E45201A8FD33}"/>
          </ac:picMkLst>
        </pc:picChg>
        <pc:picChg chg="add mod">
          <ac:chgData name="Florent Ferizaj" userId="1ac95d67-9df5-47eb-b975-9543de642a3b" providerId="ADAL" clId="{14C92A01-973B-41D4-8BEC-84BE133B9246}" dt="2023-10-05T07:36:06.574" v="2075"/>
          <ac:picMkLst>
            <pc:docMk/>
            <pc:sldMk cId="1913331388" sldId="258"/>
            <ac:picMk id="8" creationId="{4437C531-0434-0FC7-961E-7575830BD84A}"/>
          </ac:picMkLst>
        </pc:picChg>
      </pc:sldChg>
      <pc:sldChg chg="addSp delSp modSp mod">
        <pc:chgData name="Florent Ferizaj" userId="1ac95d67-9df5-47eb-b975-9543de642a3b" providerId="ADAL" clId="{14C92A01-973B-41D4-8BEC-84BE133B9246}" dt="2023-10-05T07:34:29.187" v="2026" actId="478"/>
        <pc:sldMkLst>
          <pc:docMk/>
          <pc:sldMk cId="2112361714" sldId="259"/>
        </pc:sldMkLst>
        <pc:spChg chg="add del">
          <ac:chgData name="Florent Ferizaj" userId="1ac95d67-9df5-47eb-b975-9543de642a3b" providerId="ADAL" clId="{14C92A01-973B-41D4-8BEC-84BE133B9246}" dt="2023-10-05T07:34:29.187" v="2026" actId="478"/>
          <ac:spMkLst>
            <pc:docMk/>
            <pc:sldMk cId="2112361714" sldId="259"/>
            <ac:spMk id="2" creationId="{5B3E3E6E-2A02-7337-A27C-C6EE5EB674DC}"/>
          </ac:spMkLst>
        </pc:spChg>
        <pc:spChg chg="mod">
          <ac:chgData name="Florent Ferizaj" userId="1ac95d67-9df5-47eb-b975-9543de642a3b" providerId="ADAL" clId="{14C92A01-973B-41D4-8BEC-84BE133B9246}" dt="2023-10-05T07:34:22.743" v="2024" actId="1035"/>
          <ac:spMkLst>
            <pc:docMk/>
            <pc:sldMk cId="2112361714" sldId="259"/>
            <ac:spMk id="10" creationId="{C3DBC9E3-84A4-4CAE-8363-CC0A0E38B3BE}"/>
          </ac:spMkLst>
        </pc:spChg>
        <pc:spChg chg="mod">
          <ac:chgData name="Florent Ferizaj" userId="1ac95d67-9df5-47eb-b975-9543de642a3b" providerId="ADAL" clId="{14C92A01-973B-41D4-8BEC-84BE133B9246}" dt="2023-10-05T07:34:15.341" v="2019" actId="1076"/>
          <ac:spMkLst>
            <pc:docMk/>
            <pc:sldMk cId="2112361714" sldId="259"/>
            <ac:spMk id="16" creationId="{0E8C40D3-BC7D-46AD-9096-26D3079EC99A}"/>
          </ac:spMkLst>
        </pc:spChg>
        <pc:spChg chg="mod">
          <ac:chgData name="Florent Ferizaj" userId="1ac95d67-9df5-47eb-b975-9543de642a3b" providerId="ADAL" clId="{14C92A01-973B-41D4-8BEC-84BE133B9246}" dt="2023-10-05T07:34:15.341" v="2019" actId="1076"/>
          <ac:spMkLst>
            <pc:docMk/>
            <pc:sldMk cId="2112361714" sldId="259"/>
            <ac:spMk id="19" creationId="{6D59E5B1-17F5-45E4-B46B-A681D9434084}"/>
          </ac:spMkLst>
        </pc:spChg>
        <pc:picChg chg="mod">
          <ac:chgData name="Florent Ferizaj" userId="1ac95d67-9df5-47eb-b975-9543de642a3b" providerId="ADAL" clId="{14C92A01-973B-41D4-8BEC-84BE133B9246}" dt="2023-10-04T14:42:21.442" v="1491" actId="14826"/>
          <ac:picMkLst>
            <pc:docMk/>
            <pc:sldMk cId="2112361714" sldId="259"/>
            <ac:picMk id="6" creationId="{135EF1CE-08BB-AF25-1649-F843B44ED88E}"/>
          </ac:picMkLst>
        </pc:picChg>
      </pc:sldChg>
      <pc:sldChg chg="del">
        <pc:chgData name="Florent Ferizaj" userId="1ac95d67-9df5-47eb-b975-9543de642a3b" providerId="ADAL" clId="{14C92A01-973B-41D4-8BEC-84BE133B9246}" dt="2023-10-04T14:35:20.717" v="1426" actId="47"/>
        <pc:sldMkLst>
          <pc:docMk/>
          <pc:sldMk cId="4094463976" sldId="275"/>
        </pc:sldMkLst>
      </pc:sldChg>
      <pc:sldChg chg="addSp delSp modSp mod modAnim">
        <pc:chgData name="Florent Ferizaj" userId="1ac95d67-9df5-47eb-b975-9543de642a3b" providerId="ADAL" clId="{14C92A01-973B-41D4-8BEC-84BE133B9246}" dt="2023-10-06T07:38:58.417" v="2645" actId="1076"/>
        <pc:sldMkLst>
          <pc:docMk/>
          <pc:sldMk cId="1895001975" sldId="282"/>
        </pc:sldMkLst>
        <pc:spChg chg="add mod">
          <ac:chgData name="Florent Ferizaj" userId="1ac95d67-9df5-47eb-b975-9543de642a3b" providerId="ADAL" clId="{14C92A01-973B-41D4-8BEC-84BE133B9246}" dt="2023-10-06T07:38:58.417" v="2645" actId="1076"/>
          <ac:spMkLst>
            <pc:docMk/>
            <pc:sldMk cId="1895001975" sldId="282"/>
            <ac:spMk id="3" creationId="{6AF03383-76C7-2EF1-BD6B-B24DEBC9C36F}"/>
          </ac:spMkLst>
        </pc:spChg>
        <pc:spChg chg="mod">
          <ac:chgData name="Florent Ferizaj" userId="1ac95d67-9df5-47eb-b975-9543de642a3b" providerId="ADAL" clId="{14C92A01-973B-41D4-8BEC-84BE133B9246}" dt="2023-10-05T07:11:46.263" v="1814" actId="1076"/>
          <ac:spMkLst>
            <pc:docMk/>
            <pc:sldMk cId="1895001975" sldId="282"/>
            <ac:spMk id="8" creationId="{615CC12E-2D07-4679-B886-149E11CD98B0}"/>
          </ac:spMkLst>
        </pc:spChg>
        <pc:spChg chg="mod">
          <ac:chgData name="Florent Ferizaj" userId="1ac95d67-9df5-47eb-b975-9543de642a3b" providerId="ADAL" clId="{14C92A01-973B-41D4-8BEC-84BE133B9246}" dt="2023-10-06T07:38:58.417" v="2645" actId="1076"/>
          <ac:spMkLst>
            <pc:docMk/>
            <pc:sldMk cId="1895001975" sldId="282"/>
            <ac:spMk id="11" creationId="{4A467C9C-1D5E-4786-A12A-4E3536C9D67E}"/>
          </ac:spMkLst>
        </pc:spChg>
        <pc:spChg chg="del mod">
          <ac:chgData name="Florent Ferizaj" userId="1ac95d67-9df5-47eb-b975-9543de642a3b" providerId="ADAL" clId="{14C92A01-973B-41D4-8BEC-84BE133B9246}" dt="2023-10-04T14:36:56.221" v="1466" actId="478"/>
          <ac:spMkLst>
            <pc:docMk/>
            <pc:sldMk cId="1895001975" sldId="282"/>
            <ac:spMk id="15" creationId="{526D0A74-D94F-C7C3-7A95-CEC3B13715D1}"/>
          </ac:spMkLst>
        </pc:spChg>
        <pc:spChg chg="del mod">
          <ac:chgData name="Florent Ferizaj" userId="1ac95d67-9df5-47eb-b975-9543de642a3b" providerId="ADAL" clId="{14C92A01-973B-41D4-8BEC-84BE133B9246}" dt="2023-10-04T14:36:56.221" v="1466" actId="478"/>
          <ac:spMkLst>
            <pc:docMk/>
            <pc:sldMk cId="1895001975" sldId="282"/>
            <ac:spMk id="16" creationId="{48CF980B-EDEC-9B42-69CA-CE57C37F1759}"/>
          </ac:spMkLst>
        </pc:spChg>
        <pc:spChg chg="del">
          <ac:chgData name="Florent Ferizaj" userId="1ac95d67-9df5-47eb-b975-9543de642a3b" providerId="ADAL" clId="{14C92A01-973B-41D4-8BEC-84BE133B9246}" dt="2023-10-04T14:35:29.685" v="1428" actId="478"/>
          <ac:spMkLst>
            <pc:docMk/>
            <pc:sldMk cId="1895001975" sldId="282"/>
            <ac:spMk id="17" creationId="{4305DC00-53FD-432F-B0F9-490F438ECE99}"/>
          </ac:spMkLst>
        </pc:spChg>
        <pc:spChg chg="del">
          <ac:chgData name="Florent Ferizaj" userId="1ac95d67-9df5-47eb-b975-9543de642a3b" providerId="ADAL" clId="{14C92A01-973B-41D4-8BEC-84BE133B9246}" dt="2023-10-04T14:35:30.770" v="1429" actId="478"/>
          <ac:spMkLst>
            <pc:docMk/>
            <pc:sldMk cId="1895001975" sldId="282"/>
            <ac:spMk id="18" creationId="{4C87C509-0C46-4DED-BBD0-87563F78AC53}"/>
          </ac:spMkLst>
        </pc:spChg>
        <pc:grpChg chg="add del mod">
          <ac:chgData name="Florent Ferizaj" userId="1ac95d67-9df5-47eb-b975-9543de642a3b" providerId="ADAL" clId="{14C92A01-973B-41D4-8BEC-84BE133B9246}" dt="2023-10-06T07:36:49.790" v="2574" actId="165"/>
          <ac:grpSpMkLst>
            <pc:docMk/>
            <pc:sldMk cId="1895001975" sldId="282"/>
            <ac:grpSpMk id="2" creationId="{86AAEBA6-500D-9907-0D1F-076ECEEA17A2}"/>
          </ac:grpSpMkLst>
        </pc:grpChg>
        <pc:grpChg chg="add mod">
          <ac:chgData name="Florent Ferizaj" userId="1ac95d67-9df5-47eb-b975-9543de642a3b" providerId="ADAL" clId="{14C92A01-973B-41D4-8BEC-84BE133B9246}" dt="2023-10-06T07:38:58.417" v="2645" actId="1076"/>
          <ac:grpSpMkLst>
            <pc:docMk/>
            <pc:sldMk cId="1895001975" sldId="282"/>
            <ac:grpSpMk id="4" creationId="{4F3B8ACE-DBC2-413A-115D-6568ABA08DA2}"/>
          </ac:grpSpMkLst>
        </pc:grpChg>
        <pc:picChg chg="mod">
          <ac:chgData name="Florent Ferizaj" userId="1ac95d67-9df5-47eb-b975-9543de642a3b" providerId="ADAL" clId="{14C92A01-973B-41D4-8BEC-84BE133B9246}" dt="2023-10-05T07:09:32.170" v="1771" actId="14826"/>
          <ac:picMkLst>
            <pc:docMk/>
            <pc:sldMk cId="1895001975" sldId="282"/>
            <ac:picMk id="7" creationId="{0E24C124-4AF8-F0A1-7B76-C1AB9971D52F}"/>
          </ac:picMkLst>
        </pc:picChg>
        <pc:picChg chg="del">
          <ac:chgData name="Florent Ferizaj" userId="1ac95d67-9df5-47eb-b975-9543de642a3b" providerId="ADAL" clId="{14C92A01-973B-41D4-8BEC-84BE133B9246}" dt="2023-10-04T14:36:56.221" v="1466" actId="478"/>
          <ac:picMkLst>
            <pc:docMk/>
            <pc:sldMk cId="1895001975" sldId="282"/>
            <ac:picMk id="13" creationId="{C622196E-9EEC-ECA2-6F7B-3B46E5DB7F0F}"/>
          </ac:picMkLst>
        </pc:picChg>
        <pc:picChg chg="del">
          <ac:chgData name="Florent Ferizaj" userId="1ac95d67-9df5-47eb-b975-9543de642a3b" providerId="ADAL" clId="{14C92A01-973B-41D4-8BEC-84BE133B9246}" dt="2023-10-04T14:36:56.221" v="1466" actId="478"/>
          <ac:picMkLst>
            <pc:docMk/>
            <pc:sldMk cId="1895001975" sldId="282"/>
            <ac:picMk id="14" creationId="{82D73093-A01B-18AE-2BCA-EEE133F0B5B5}"/>
          </ac:picMkLst>
        </pc:picChg>
        <pc:picChg chg="del mod topLvl">
          <ac:chgData name="Florent Ferizaj" userId="1ac95d67-9df5-47eb-b975-9543de642a3b" providerId="ADAL" clId="{14C92A01-973B-41D4-8BEC-84BE133B9246}" dt="2023-10-06T07:37:28.168" v="2575" actId="478"/>
          <ac:picMkLst>
            <pc:docMk/>
            <pc:sldMk cId="1895001975" sldId="282"/>
            <ac:picMk id="29" creationId="{445B4921-DBA1-AFB9-9269-5DCDCB704D92}"/>
          </ac:picMkLst>
        </pc:picChg>
        <pc:picChg chg="mod topLvl">
          <ac:chgData name="Florent Ferizaj" userId="1ac95d67-9df5-47eb-b975-9543de642a3b" providerId="ADAL" clId="{14C92A01-973B-41D4-8BEC-84BE133B9246}" dt="2023-10-06T07:38:58.417" v="2645" actId="1076"/>
          <ac:picMkLst>
            <pc:docMk/>
            <pc:sldMk cId="1895001975" sldId="282"/>
            <ac:picMk id="31" creationId="{7E67A423-3F4B-D9FC-92E9-A6FA2145BB46}"/>
          </ac:picMkLst>
        </pc:picChg>
        <pc:picChg chg="mod topLvl">
          <ac:chgData name="Florent Ferizaj" userId="1ac95d67-9df5-47eb-b975-9543de642a3b" providerId="ADAL" clId="{14C92A01-973B-41D4-8BEC-84BE133B9246}" dt="2023-10-06T07:38:58.417" v="2645" actId="1076"/>
          <ac:picMkLst>
            <pc:docMk/>
            <pc:sldMk cId="1895001975" sldId="282"/>
            <ac:picMk id="33" creationId="{4580935F-AC8F-08FB-852A-06AE021A21FF}"/>
          </ac:picMkLst>
        </pc:picChg>
      </pc:sldChg>
      <pc:sldChg chg="del">
        <pc:chgData name="Florent Ferizaj" userId="1ac95d67-9df5-47eb-b975-9543de642a3b" providerId="ADAL" clId="{14C92A01-973B-41D4-8BEC-84BE133B9246}" dt="2023-10-04T14:35:22.062" v="1427" actId="47"/>
        <pc:sldMkLst>
          <pc:docMk/>
          <pc:sldMk cId="297762828" sldId="284"/>
        </pc:sldMkLst>
      </pc:sldChg>
      <pc:sldChg chg="del">
        <pc:chgData name="Florent Ferizaj" userId="1ac95d67-9df5-47eb-b975-9543de642a3b" providerId="ADAL" clId="{14C92A01-973B-41D4-8BEC-84BE133B9246}" dt="2023-10-04T14:43:53.700" v="1498" actId="47"/>
        <pc:sldMkLst>
          <pc:docMk/>
          <pc:sldMk cId="709132276" sldId="286"/>
        </pc:sldMkLst>
      </pc:sldChg>
      <pc:sldChg chg="addSp delSp modSp mod delAnim">
        <pc:chgData name="Florent Ferizaj" userId="1ac95d67-9df5-47eb-b975-9543de642a3b" providerId="ADAL" clId="{14C92A01-973B-41D4-8BEC-84BE133B9246}" dt="2023-10-05T07:36:09.828" v="2076"/>
        <pc:sldMkLst>
          <pc:docMk/>
          <pc:sldMk cId="3169204318" sldId="287"/>
        </pc:sldMkLst>
        <pc:spChg chg="add del mod">
          <ac:chgData name="Florent Ferizaj" userId="1ac95d67-9df5-47eb-b975-9543de642a3b" providerId="ADAL" clId="{14C92A01-973B-41D4-8BEC-84BE133B9246}" dt="2023-10-05T07:05:11.814" v="1740" actId="478"/>
          <ac:spMkLst>
            <pc:docMk/>
            <pc:sldMk cId="3169204318" sldId="287"/>
            <ac:spMk id="2" creationId="{9A9D3D91-3BE2-81D4-88BA-4B79032F8C2B}"/>
          </ac:spMkLst>
        </pc:spChg>
        <pc:spChg chg="add del mod">
          <ac:chgData name="Florent Ferizaj" userId="1ac95d67-9df5-47eb-b975-9543de642a3b" providerId="ADAL" clId="{14C92A01-973B-41D4-8BEC-84BE133B9246}" dt="2023-10-05T07:04:39.467" v="1734" actId="478"/>
          <ac:spMkLst>
            <pc:docMk/>
            <pc:sldMk cId="3169204318" sldId="287"/>
            <ac:spMk id="7" creationId="{A291AA27-7D67-162D-DF25-7AC08FE65B1C}"/>
          </ac:spMkLst>
        </pc:spChg>
        <pc:spChg chg="add mod">
          <ac:chgData name="Florent Ferizaj" userId="1ac95d67-9df5-47eb-b975-9543de642a3b" providerId="ADAL" clId="{14C92A01-973B-41D4-8BEC-84BE133B9246}" dt="2023-10-05T07:05:42.673" v="1744" actId="14100"/>
          <ac:spMkLst>
            <pc:docMk/>
            <pc:sldMk cId="3169204318" sldId="287"/>
            <ac:spMk id="8" creationId="{9A48E439-CFC8-693F-CF31-D6D5F01FC8EC}"/>
          </ac:spMkLst>
        </pc:spChg>
        <pc:spChg chg="del">
          <ac:chgData name="Florent Ferizaj" userId="1ac95d67-9df5-47eb-b975-9543de642a3b" providerId="ADAL" clId="{14C92A01-973B-41D4-8BEC-84BE133B9246}" dt="2023-10-04T13:38:10.961" v="483" actId="478"/>
          <ac:spMkLst>
            <pc:docMk/>
            <pc:sldMk cId="3169204318" sldId="287"/>
            <ac:spMk id="10" creationId="{B00A2DA9-5690-99EE-9C7A-4E0197BAF550}"/>
          </ac:spMkLst>
        </pc:spChg>
        <pc:spChg chg="mod ord">
          <ac:chgData name="Florent Ferizaj" userId="1ac95d67-9df5-47eb-b975-9543de642a3b" providerId="ADAL" clId="{14C92A01-973B-41D4-8BEC-84BE133B9246}" dt="2023-10-05T07:02:57.072" v="1719" actId="1076"/>
          <ac:spMkLst>
            <pc:docMk/>
            <pc:sldMk cId="3169204318" sldId="287"/>
            <ac:spMk id="12" creationId="{34DC3C6D-6FD6-43F5-B034-C60170C1DD4D}"/>
          </ac:spMkLst>
        </pc:spChg>
        <pc:spChg chg="del mod">
          <ac:chgData name="Florent Ferizaj" userId="1ac95d67-9df5-47eb-b975-9543de642a3b" providerId="ADAL" clId="{14C92A01-973B-41D4-8BEC-84BE133B9246}" dt="2023-10-04T13:38:04.846" v="478" actId="478"/>
          <ac:spMkLst>
            <pc:docMk/>
            <pc:sldMk cId="3169204318" sldId="287"/>
            <ac:spMk id="14" creationId="{F2354A7A-6197-441E-B9F9-412D340362CF}"/>
          </ac:spMkLst>
        </pc:spChg>
        <pc:spChg chg="del">
          <ac:chgData name="Florent Ferizaj" userId="1ac95d67-9df5-47eb-b975-9543de642a3b" providerId="ADAL" clId="{14C92A01-973B-41D4-8BEC-84BE133B9246}" dt="2023-10-04T13:38:06.588" v="479" actId="478"/>
          <ac:spMkLst>
            <pc:docMk/>
            <pc:sldMk cId="3169204318" sldId="287"/>
            <ac:spMk id="16" creationId="{9414C254-3748-421E-8913-C44C0276F471}"/>
          </ac:spMkLst>
        </pc:spChg>
        <pc:spChg chg="del">
          <ac:chgData name="Florent Ferizaj" userId="1ac95d67-9df5-47eb-b975-9543de642a3b" providerId="ADAL" clId="{14C92A01-973B-41D4-8BEC-84BE133B9246}" dt="2023-10-04T13:38:14.117" v="486" actId="478"/>
          <ac:spMkLst>
            <pc:docMk/>
            <pc:sldMk cId="3169204318" sldId="287"/>
            <ac:spMk id="18" creationId="{2E28052C-40B9-4262-2388-7D2B30E1DA77}"/>
          </ac:spMkLst>
        </pc:spChg>
        <pc:spChg chg="del">
          <ac:chgData name="Florent Ferizaj" userId="1ac95d67-9df5-47eb-b975-9543de642a3b" providerId="ADAL" clId="{14C92A01-973B-41D4-8BEC-84BE133B9246}" dt="2023-10-04T13:38:18.045" v="489" actId="478"/>
          <ac:spMkLst>
            <pc:docMk/>
            <pc:sldMk cId="3169204318" sldId="287"/>
            <ac:spMk id="19" creationId="{3521677A-5E6D-686E-91AE-0598E51094F5}"/>
          </ac:spMkLst>
        </pc:spChg>
        <pc:spChg chg="del">
          <ac:chgData name="Florent Ferizaj" userId="1ac95d67-9df5-47eb-b975-9543de642a3b" providerId="ADAL" clId="{14C92A01-973B-41D4-8BEC-84BE133B9246}" dt="2023-10-04T13:38:10.091" v="482" actId="478"/>
          <ac:spMkLst>
            <pc:docMk/>
            <pc:sldMk cId="3169204318" sldId="287"/>
            <ac:spMk id="20" creationId="{9511CC1C-97D2-78B2-C56E-AFBD7741CAE5}"/>
          </ac:spMkLst>
        </pc:spChg>
        <pc:spChg chg="del">
          <ac:chgData name="Florent Ferizaj" userId="1ac95d67-9df5-47eb-b975-9543de642a3b" providerId="ADAL" clId="{14C92A01-973B-41D4-8BEC-84BE133B9246}" dt="2023-10-04T13:38:18.045" v="489" actId="478"/>
          <ac:spMkLst>
            <pc:docMk/>
            <pc:sldMk cId="3169204318" sldId="287"/>
            <ac:spMk id="27" creationId="{82A39D83-1DE6-532A-0EBE-A908DE79244E}"/>
          </ac:spMkLst>
        </pc:spChg>
        <pc:grpChg chg="del">
          <ac:chgData name="Florent Ferizaj" userId="1ac95d67-9df5-47eb-b975-9543de642a3b" providerId="ADAL" clId="{14C92A01-973B-41D4-8BEC-84BE133B9246}" dt="2023-10-04T13:40:40.921" v="490" actId="478"/>
          <ac:grpSpMkLst>
            <pc:docMk/>
            <pc:sldMk cId="3169204318" sldId="287"/>
            <ac:grpSpMk id="22" creationId="{0259811C-9588-3F93-7156-9473C35A3DAD}"/>
          </ac:grpSpMkLst>
        </pc:grpChg>
        <pc:picChg chg="add mod">
          <ac:chgData name="Florent Ferizaj" userId="1ac95d67-9df5-47eb-b975-9543de642a3b" providerId="ADAL" clId="{14C92A01-973B-41D4-8BEC-84BE133B9246}" dt="2023-10-05T07:36:09.828" v="2076"/>
          <ac:picMkLst>
            <pc:docMk/>
            <pc:sldMk cId="3169204318" sldId="287"/>
            <ac:picMk id="3" creationId="{9DEA8876-B510-9187-27D1-5D5F5F39AEA0}"/>
          </ac:picMkLst>
        </pc:picChg>
        <pc:picChg chg="add del mod ord">
          <ac:chgData name="Florent Ferizaj" userId="1ac95d67-9df5-47eb-b975-9543de642a3b" providerId="ADAL" clId="{14C92A01-973B-41D4-8BEC-84BE133B9246}" dt="2023-10-05T07:03:21.002" v="1725" actId="478"/>
          <ac:picMkLst>
            <pc:docMk/>
            <pc:sldMk cId="3169204318" sldId="287"/>
            <ac:picMk id="4" creationId="{9484B98A-AB98-78E8-CBD6-5982C6BC9056}"/>
          </ac:picMkLst>
        </pc:picChg>
        <pc:picChg chg="add mod">
          <ac:chgData name="Florent Ferizaj" userId="1ac95d67-9df5-47eb-b975-9543de642a3b" providerId="ADAL" clId="{14C92A01-973B-41D4-8BEC-84BE133B9246}" dt="2023-10-05T07:04:56.474" v="1736" actId="14100"/>
          <ac:picMkLst>
            <pc:docMk/>
            <pc:sldMk cId="3169204318" sldId="287"/>
            <ac:picMk id="6" creationId="{DE3D721E-13B4-0304-3648-D240C122CE2B}"/>
          </ac:picMkLst>
        </pc:picChg>
      </pc:sldChg>
      <pc:sldChg chg="addSp delSp modSp del mod delAnim">
        <pc:chgData name="Florent Ferizaj" userId="1ac95d67-9df5-47eb-b975-9543de642a3b" providerId="ADAL" clId="{14C92A01-973B-41D4-8BEC-84BE133B9246}" dt="2023-10-04T13:42:18.382" v="552" actId="47"/>
        <pc:sldMkLst>
          <pc:docMk/>
          <pc:sldMk cId="12608605" sldId="289"/>
        </pc:sldMkLst>
        <pc:spChg chg="add del mod">
          <ac:chgData name="Florent Ferizaj" userId="1ac95d67-9df5-47eb-b975-9543de642a3b" providerId="ADAL" clId="{14C92A01-973B-41D4-8BEC-84BE133B9246}" dt="2023-10-04T13:41:08.034" v="501" actId="478"/>
          <ac:spMkLst>
            <pc:docMk/>
            <pc:sldMk cId="12608605" sldId="289"/>
            <ac:spMk id="5" creationId="{93559A69-F753-8F80-EDD6-7D7E41E9F193}"/>
          </ac:spMkLst>
        </pc:spChg>
        <pc:spChg chg="mod">
          <ac:chgData name="Florent Ferizaj" userId="1ac95d67-9df5-47eb-b975-9543de642a3b" providerId="ADAL" clId="{14C92A01-973B-41D4-8BEC-84BE133B9246}" dt="2023-10-04T13:41:44.126" v="544" actId="1076"/>
          <ac:spMkLst>
            <pc:docMk/>
            <pc:sldMk cId="12608605" sldId="289"/>
            <ac:spMk id="12" creationId="{F4AB24F8-EC3D-478F-8745-D9D6564642EE}"/>
          </ac:spMkLst>
        </pc:spChg>
        <pc:spChg chg="del mod">
          <ac:chgData name="Florent Ferizaj" userId="1ac95d67-9df5-47eb-b975-9543de642a3b" providerId="ADAL" clId="{14C92A01-973B-41D4-8BEC-84BE133B9246}" dt="2023-10-04T13:41:18.792" v="505" actId="478"/>
          <ac:spMkLst>
            <pc:docMk/>
            <pc:sldMk cId="12608605" sldId="289"/>
            <ac:spMk id="14" creationId="{53C2D7D9-7F5F-47A2-AFFF-81AB26473591}"/>
          </ac:spMkLst>
        </pc:spChg>
        <pc:spChg chg="del mod">
          <ac:chgData name="Florent Ferizaj" userId="1ac95d67-9df5-47eb-b975-9543de642a3b" providerId="ADAL" clId="{14C92A01-973B-41D4-8BEC-84BE133B9246}" dt="2023-10-04T13:41:19.837" v="506" actId="478"/>
          <ac:spMkLst>
            <pc:docMk/>
            <pc:sldMk cId="12608605" sldId="289"/>
            <ac:spMk id="15" creationId="{1D9EAF77-033E-452A-9006-814500515E05}"/>
          </ac:spMkLst>
        </pc:spChg>
        <pc:spChg chg="del">
          <ac:chgData name="Florent Ferizaj" userId="1ac95d67-9df5-47eb-b975-9543de642a3b" providerId="ADAL" clId="{14C92A01-973B-41D4-8BEC-84BE133B9246}" dt="2023-10-04T13:41:21.777" v="508" actId="478"/>
          <ac:spMkLst>
            <pc:docMk/>
            <pc:sldMk cId="12608605" sldId="289"/>
            <ac:spMk id="34" creationId="{BB52DBE3-74C3-CEFF-C850-A827B662342E}"/>
          </ac:spMkLst>
        </pc:spChg>
        <pc:spChg chg="del">
          <ac:chgData name="Florent Ferizaj" userId="1ac95d67-9df5-47eb-b975-9543de642a3b" providerId="ADAL" clId="{14C92A01-973B-41D4-8BEC-84BE133B9246}" dt="2023-10-04T13:41:20.904" v="507" actId="478"/>
          <ac:spMkLst>
            <pc:docMk/>
            <pc:sldMk cId="12608605" sldId="289"/>
            <ac:spMk id="35" creationId="{54A56F54-B5CE-C2A4-DA91-D4A8EE196F8E}"/>
          </ac:spMkLst>
        </pc:spChg>
        <pc:spChg chg="del">
          <ac:chgData name="Florent Ferizaj" userId="1ac95d67-9df5-47eb-b975-9543de642a3b" providerId="ADAL" clId="{14C92A01-973B-41D4-8BEC-84BE133B9246}" dt="2023-10-04T13:41:24.962" v="510" actId="478"/>
          <ac:spMkLst>
            <pc:docMk/>
            <pc:sldMk cId="12608605" sldId="289"/>
            <ac:spMk id="36" creationId="{F858E7E3-A9D5-74A8-26C5-E70AB28BE93B}"/>
          </ac:spMkLst>
        </pc:spChg>
        <pc:spChg chg="del">
          <ac:chgData name="Florent Ferizaj" userId="1ac95d67-9df5-47eb-b975-9543de642a3b" providerId="ADAL" clId="{14C92A01-973B-41D4-8BEC-84BE133B9246}" dt="2023-10-04T13:41:23.195" v="509" actId="478"/>
          <ac:spMkLst>
            <pc:docMk/>
            <pc:sldMk cId="12608605" sldId="289"/>
            <ac:spMk id="37" creationId="{6CAD1FC5-D498-C99B-4CC9-7133D62FB56C}"/>
          </ac:spMkLst>
        </pc:spChg>
        <pc:grpChg chg="del">
          <ac:chgData name="Florent Ferizaj" userId="1ac95d67-9df5-47eb-b975-9543de642a3b" providerId="ADAL" clId="{14C92A01-973B-41D4-8BEC-84BE133B9246}" dt="2023-10-04T13:41:10.118" v="502" actId="478"/>
          <ac:grpSpMkLst>
            <pc:docMk/>
            <pc:sldMk cId="12608605" sldId="289"/>
            <ac:grpSpMk id="31" creationId="{B466D389-647E-4D20-12CC-82BA4E150F9F}"/>
          </ac:grpSpMkLst>
        </pc:grpChg>
        <pc:picChg chg="add del mod">
          <ac:chgData name="Florent Ferizaj" userId="1ac95d67-9df5-47eb-b975-9543de642a3b" providerId="ADAL" clId="{14C92A01-973B-41D4-8BEC-84BE133B9246}" dt="2023-10-04T13:41:02.294" v="497"/>
          <ac:picMkLst>
            <pc:docMk/>
            <pc:sldMk cId="12608605" sldId="289"/>
            <ac:picMk id="2" creationId="{A16C798E-8DAA-4FD3-FC6F-2565CA7CB733}"/>
          </ac:picMkLst>
        </pc:picChg>
        <pc:picChg chg="add mod">
          <ac:chgData name="Florent Ferizaj" userId="1ac95d67-9df5-47eb-b975-9543de642a3b" providerId="ADAL" clId="{14C92A01-973B-41D4-8BEC-84BE133B9246}" dt="2023-10-04T13:41:36.854" v="543"/>
          <ac:picMkLst>
            <pc:docMk/>
            <pc:sldMk cId="12608605" sldId="289"/>
            <ac:picMk id="3" creationId="{E6A6AF15-A991-2274-01DB-43A38DB90614}"/>
          </ac:picMkLst>
        </pc:picChg>
      </pc:sldChg>
      <pc:sldChg chg="addSp delSp modSp mod delAnim">
        <pc:chgData name="Florent Ferizaj" userId="1ac95d67-9df5-47eb-b975-9543de642a3b" providerId="ADAL" clId="{14C92A01-973B-41D4-8BEC-84BE133B9246}" dt="2023-10-06T06:48:38.880" v="2524" actId="207"/>
        <pc:sldMkLst>
          <pc:docMk/>
          <pc:sldMk cId="3197428341" sldId="290"/>
        </pc:sldMkLst>
        <pc:spChg chg="add mod">
          <ac:chgData name="Florent Ferizaj" userId="1ac95d67-9df5-47eb-b975-9543de642a3b" providerId="ADAL" clId="{14C92A01-973B-41D4-8BEC-84BE133B9246}" dt="2023-10-05T07:13:23.233" v="1831" actId="1076"/>
          <ac:spMkLst>
            <pc:docMk/>
            <pc:sldMk cId="3197428341" sldId="290"/>
            <ac:spMk id="2" creationId="{AF6D40EB-1575-D5B9-2FBB-E378E32BC630}"/>
          </ac:spMkLst>
        </pc:spChg>
        <pc:spChg chg="add del mod">
          <ac:chgData name="Florent Ferizaj" userId="1ac95d67-9df5-47eb-b975-9543de642a3b" providerId="ADAL" clId="{14C92A01-973B-41D4-8BEC-84BE133B9246}" dt="2023-10-04T13:46:17.760" v="659"/>
          <ac:spMkLst>
            <pc:docMk/>
            <pc:sldMk cId="3197428341" sldId="290"/>
            <ac:spMk id="3" creationId="{154B4286-5A28-CC64-3A3E-1A2F0E03CDE0}"/>
          </ac:spMkLst>
        </pc:spChg>
        <pc:spChg chg="add del">
          <ac:chgData name="Florent Ferizaj" userId="1ac95d67-9df5-47eb-b975-9543de642a3b" providerId="ADAL" clId="{14C92A01-973B-41D4-8BEC-84BE133B9246}" dt="2023-10-05T06:58:19.553" v="1674" actId="21"/>
          <ac:spMkLst>
            <pc:docMk/>
            <pc:sldMk cId="3197428341" sldId="290"/>
            <ac:spMk id="3" creationId="{5421EA87-BF63-F85B-7284-A09943BC42C1}"/>
          </ac:spMkLst>
        </pc:spChg>
        <pc:spChg chg="add del mod">
          <ac:chgData name="Florent Ferizaj" userId="1ac95d67-9df5-47eb-b975-9543de642a3b" providerId="ADAL" clId="{14C92A01-973B-41D4-8BEC-84BE133B9246}" dt="2023-10-05T07:13:35.653" v="1834" actId="21"/>
          <ac:spMkLst>
            <pc:docMk/>
            <pc:sldMk cId="3197428341" sldId="290"/>
            <ac:spMk id="4" creationId="{CBD8B630-42EA-8449-8750-73BB5D43BDA8}"/>
          </ac:spMkLst>
        </pc:spChg>
        <pc:spChg chg="mod">
          <ac:chgData name="Florent Ferizaj" userId="1ac95d67-9df5-47eb-b975-9543de642a3b" providerId="ADAL" clId="{14C92A01-973B-41D4-8BEC-84BE133B9246}" dt="2023-10-05T07:13:23.233" v="1831" actId="1076"/>
          <ac:spMkLst>
            <pc:docMk/>
            <pc:sldMk cId="3197428341" sldId="290"/>
            <ac:spMk id="12" creationId="{F4AB24F8-EC3D-478F-8745-D9D6564642EE}"/>
          </ac:spMkLst>
        </pc:spChg>
        <pc:spChg chg="mod">
          <ac:chgData name="Florent Ferizaj" userId="1ac95d67-9df5-47eb-b975-9543de642a3b" providerId="ADAL" clId="{14C92A01-973B-41D4-8BEC-84BE133B9246}" dt="2023-10-05T07:13:23.233" v="1831" actId="1076"/>
          <ac:spMkLst>
            <pc:docMk/>
            <pc:sldMk cId="3197428341" sldId="290"/>
            <ac:spMk id="14" creationId="{53C2D7D9-7F5F-47A2-AFFF-81AB26473591}"/>
          </ac:spMkLst>
        </pc:spChg>
        <pc:spChg chg="del">
          <ac:chgData name="Florent Ferizaj" userId="1ac95d67-9df5-47eb-b975-9543de642a3b" providerId="ADAL" clId="{14C92A01-973B-41D4-8BEC-84BE133B9246}" dt="2023-10-04T13:43:45.320" v="620" actId="478"/>
          <ac:spMkLst>
            <pc:docMk/>
            <pc:sldMk cId="3197428341" sldId="290"/>
            <ac:spMk id="15" creationId="{1D9EAF77-033E-452A-9006-814500515E05}"/>
          </ac:spMkLst>
        </pc:spChg>
        <pc:spChg chg="mod">
          <ac:chgData name="Florent Ferizaj" userId="1ac95d67-9df5-47eb-b975-9543de642a3b" providerId="ADAL" clId="{14C92A01-973B-41D4-8BEC-84BE133B9246}" dt="2023-10-06T06:48:38.880" v="2524" actId="207"/>
          <ac:spMkLst>
            <pc:docMk/>
            <pc:sldMk cId="3197428341" sldId="290"/>
            <ac:spMk id="32" creationId="{012C07C4-C9B0-7D49-1D41-A2BABE5D3E0E}"/>
          </ac:spMkLst>
        </pc:spChg>
        <pc:spChg chg="mod">
          <ac:chgData name="Florent Ferizaj" userId="1ac95d67-9df5-47eb-b975-9543de642a3b" providerId="ADAL" clId="{14C92A01-973B-41D4-8BEC-84BE133B9246}" dt="2023-10-06T06:48:38.880" v="2524" actId="207"/>
          <ac:spMkLst>
            <pc:docMk/>
            <pc:sldMk cId="3197428341" sldId="290"/>
            <ac:spMk id="33" creationId="{ED608A02-5DC2-8AD8-3E45-1EA78A0B3022}"/>
          </ac:spMkLst>
        </pc:spChg>
        <pc:spChg chg="del">
          <ac:chgData name="Florent Ferizaj" userId="1ac95d67-9df5-47eb-b975-9543de642a3b" providerId="ADAL" clId="{14C92A01-973B-41D4-8BEC-84BE133B9246}" dt="2023-10-04T13:43:48.197" v="622" actId="478"/>
          <ac:spMkLst>
            <pc:docMk/>
            <pc:sldMk cId="3197428341" sldId="290"/>
            <ac:spMk id="34" creationId="{BB52DBE3-74C3-CEFF-C850-A827B662342E}"/>
          </ac:spMkLst>
        </pc:spChg>
        <pc:spChg chg="del">
          <ac:chgData name="Florent Ferizaj" userId="1ac95d67-9df5-47eb-b975-9543de642a3b" providerId="ADAL" clId="{14C92A01-973B-41D4-8BEC-84BE133B9246}" dt="2023-10-04T13:43:46.733" v="621" actId="478"/>
          <ac:spMkLst>
            <pc:docMk/>
            <pc:sldMk cId="3197428341" sldId="290"/>
            <ac:spMk id="35" creationId="{54A56F54-B5CE-C2A4-DA91-D4A8EE196F8E}"/>
          </ac:spMkLst>
        </pc:spChg>
        <pc:grpChg chg="mod">
          <ac:chgData name="Florent Ferizaj" userId="1ac95d67-9df5-47eb-b975-9543de642a3b" providerId="ADAL" clId="{14C92A01-973B-41D4-8BEC-84BE133B9246}" dt="2023-10-06T06:48:38.880" v="2524" actId="207"/>
          <ac:grpSpMkLst>
            <pc:docMk/>
            <pc:sldMk cId="3197428341" sldId="290"/>
            <ac:grpSpMk id="31" creationId="{B466D389-647E-4D20-12CC-82BA4E150F9F}"/>
          </ac:grpSpMkLst>
        </pc:grpChg>
        <pc:picChg chg="add mod">
          <ac:chgData name="Florent Ferizaj" userId="1ac95d67-9df5-47eb-b975-9543de642a3b" providerId="ADAL" clId="{14C92A01-973B-41D4-8BEC-84BE133B9246}" dt="2023-10-05T07:36:12.176" v="2077"/>
          <ac:picMkLst>
            <pc:docMk/>
            <pc:sldMk cId="3197428341" sldId="290"/>
            <ac:picMk id="3" creationId="{100AED8D-94E4-424F-D6BD-813E9FBC91E8}"/>
          </ac:picMkLst>
        </pc:picChg>
      </pc:sldChg>
      <pc:sldChg chg="addSp delSp modSp mod delAnim">
        <pc:chgData name="Florent Ferizaj" userId="1ac95d67-9df5-47eb-b975-9543de642a3b" providerId="ADAL" clId="{14C92A01-973B-41D4-8BEC-84BE133B9246}" dt="2023-10-06T07:15:55.728" v="2573" actId="1076"/>
        <pc:sldMkLst>
          <pc:docMk/>
          <pc:sldMk cId="3742330078" sldId="291"/>
        </pc:sldMkLst>
        <pc:spChg chg="add mod">
          <ac:chgData name="Florent Ferizaj" userId="1ac95d67-9df5-47eb-b975-9543de642a3b" providerId="ADAL" clId="{14C92A01-973B-41D4-8BEC-84BE133B9246}" dt="2023-10-05T06:59:22.792" v="1696" actId="1076"/>
          <ac:spMkLst>
            <pc:docMk/>
            <pc:sldMk cId="3742330078" sldId="291"/>
            <ac:spMk id="2" creationId="{875129EC-798B-78DD-3573-AED2BF656C92}"/>
          </ac:spMkLst>
        </pc:spChg>
        <pc:spChg chg="add del mod">
          <ac:chgData name="Florent Ferizaj" userId="1ac95d67-9df5-47eb-b975-9543de642a3b" providerId="ADAL" clId="{14C92A01-973B-41D4-8BEC-84BE133B9246}" dt="2023-10-05T06:59:22.792" v="1696" actId="1076"/>
          <ac:spMkLst>
            <pc:docMk/>
            <pc:sldMk cId="3742330078" sldId="291"/>
            <ac:spMk id="3" creationId="{DDCCA80B-34D4-E8F6-072F-6AB88548BEF2}"/>
          </ac:spMkLst>
        </pc:spChg>
        <pc:spChg chg="add del mod">
          <ac:chgData name="Florent Ferizaj" userId="1ac95d67-9df5-47eb-b975-9543de642a3b" providerId="ADAL" clId="{14C92A01-973B-41D4-8BEC-84BE133B9246}" dt="2023-10-05T06:58:46.553" v="1695" actId="478"/>
          <ac:spMkLst>
            <pc:docMk/>
            <pc:sldMk cId="3742330078" sldId="291"/>
            <ac:spMk id="4" creationId="{FF72A19D-AC55-0E2B-A5B6-76F027A2A83A}"/>
          </ac:spMkLst>
        </pc:spChg>
        <pc:spChg chg="mod">
          <ac:chgData name="Florent Ferizaj" userId="1ac95d67-9df5-47eb-b975-9543de642a3b" providerId="ADAL" clId="{14C92A01-973B-41D4-8BEC-84BE133B9246}" dt="2023-10-04T13:58:00.715" v="975" actId="14100"/>
          <ac:spMkLst>
            <pc:docMk/>
            <pc:sldMk cId="3742330078" sldId="291"/>
            <ac:spMk id="5" creationId="{93559A69-F753-8F80-EDD6-7D7E41E9F193}"/>
          </ac:spMkLst>
        </pc:spChg>
        <pc:spChg chg="add mod">
          <ac:chgData name="Florent Ferizaj" userId="1ac95d67-9df5-47eb-b975-9543de642a3b" providerId="ADAL" clId="{14C92A01-973B-41D4-8BEC-84BE133B9246}" dt="2023-10-05T06:58:28.462" v="1678" actId="571"/>
          <ac:spMkLst>
            <pc:docMk/>
            <pc:sldMk cId="3742330078" sldId="291"/>
            <ac:spMk id="6" creationId="{A9EFEE81-7D73-8487-9BB6-1FF0D7D5436E}"/>
          </ac:spMkLst>
        </pc:spChg>
        <pc:spChg chg="add mod">
          <ac:chgData name="Florent Ferizaj" userId="1ac95d67-9df5-47eb-b975-9543de642a3b" providerId="ADAL" clId="{14C92A01-973B-41D4-8BEC-84BE133B9246}" dt="2023-10-05T07:36:28.230" v="2080"/>
          <ac:spMkLst>
            <pc:docMk/>
            <pc:sldMk cId="3742330078" sldId="291"/>
            <ac:spMk id="6" creationId="{BB138C65-531D-5855-BCB8-1AEC95E16BB4}"/>
          </ac:spMkLst>
        </pc:spChg>
        <pc:spChg chg="add mod">
          <ac:chgData name="Florent Ferizaj" userId="1ac95d67-9df5-47eb-b975-9543de642a3b" providerId="ADAL" clId="{14C92A01-973B-41D4-8BEC-84BE133B9246}" dt="2023-10-05T06:58:31.643" v="1682" actId="571"/>
          <ac:spMkLst>
            <pc:docMk/>
            <pc:sldMk cId="3742330078" sldId="291"/>
            <ac:spMk id="7" creationId="{506F9678-8E09-8B91-872F-406F67008BFB}"/>
          </ac:spMkLst>
        </pc:spChg>
        <pc:spChg chg="add mod">
          <ac:chgData name="Florent Ferizaj" userId="1ac95d67-9df5-47eb-b975-9543de642a3b" providerId="ADAL" clId="{14C92A01-973B-41D4-8BEC-84BE133B9246}" dt="2023-10-05T07:36:34.833" v="2081"/>
          <ac:spMkLst>
            <pc:docMk/>
            <pc:sldMk cId="3742330078" sldId="291"/>
            <ac:spMk id="7" creationId="{C1D7ADEB-8195-8F57-AEF1-175DCB19D1A1}"/>
          </ac:spMkLst>
        </pc:spChg>
        <pc:spChg chg="add del mod">
          <ac:chgData name="Florent Ferizaj" userId="1ac95d67-9df5-47eb-b975-9543de642a3b" providerId="ADAL" clId="{14C92A01-973B-41D4-8BEC-84BE133B9246}" dt="2023-10-05T07:13:49.317" v="1839" actId="21"/>
          <ac:spMkLst>
            <pc:docMk/>
            <pc:sldMk cId="3742330078" sldId="291"/>
            <ac:spMk id="8" creationId="{A76B6178-8DB5-F62C-C700-BB6F7869AC32}"/>
          </ac:spMkLst>
        </pc:spChg>
        <pc:spChg chg="mod topLvl">
          <ac:chgData name="Florent Ferizaj" userId="1ac95d67-9df5-47eb-b975-9543de642a3b" providerId="ADAL" clId="{14C92A01-973B-41D4-8BEC-84BE133B9246}" dt="2023-10-06T07:15:24.825" v="2563" actId="165"/>
          <ac:spMkLst>
            <pc:docMk/>
            <pc:sldMk cId="3742330078" sldId="291"/>
            <ac:spMk id="9" creationId="{0909866D-DEBA-350D-A77C-A0BFE9F08D01}"/>
          </ac:spMkLst>
        </pc:spChg>
        <pc:spChg chg="add del mod">
          <ac:chgData name="Florent Ferizaj" userId="1ac95d67-9df5-47eb-b975-9543de642a3b" providerId="ADAL" clId="{14C92A01-973B-41D4-8BEC-84BE133B9246}" dt="2023-10-06T07:15:41.409" v="2568" actId="1076"/>
          <ac:spMkLst>
            <pc:docMk/>
            <pc:sldMk cId="3742330078" sldId="291"/>
            <ac:spMk id="10" creationId="{722B5AF3-0158-EA35-B5D1-C3183FD385D7}"/>
          </ac:spMkLst>
        </pc:spChg>
        <pc:spChg chg="add del mod topLvl">
          <ac:chgData name="Florent Ferizaj" userId="1ac95d67-9df5-47eb-b975-9543de642a3b" providerId="ADAL" clId="{14C92A01-973B-41D4-8BEC-84BE133B9246}" dt="2023-10-06T07:15:41.409" v="2568" actId="1076"/>
          <ac:spMkLst>
            <pc:docMk/>
            <pc:sldMk cId="3742330078" sldId="291"/>
            <ac:spMk id="11" creationId="{E1BA422B-F28A-4997-1394-AC4C97733716}"/>
          </ac:spMkLst>
        </pc:spChg>
        <pc:spChg chg="del">
          <ac:chgData name="Florent Ferizaj" userId="1ac95d67-9df5-47eb-b975-9543de642a3b" providerId="ADAL" clId="{14C92A01-973B-41D4-8BEC-84BE133B9246}" dt="2023-10-04T13:45:42.496" v="649" actId="478"/>
          <ac:spMkLst>
            <pc:docMk/>
            <pc:sldMk cId="3742330078" sldId="291"/>
            <ac:spMk id="12" creationId="{F4AB24F8-EC3D-478F-8745-D9D6564642EE}"/>
          </ac:spMkLst>
        </pc:spChg>
        <pc:spChg chg="mod">
          <ac:chgData name="Florent Ferizaj" userId="1ac95d67-9df5-47eb-b975-9543de642a3b" providerId="ADAL" clId="{14C92A01-973B-41D4-8BEC-84BE133B9246}" dt="2023-10-06T07:15:24.825" v="2563" actId="165"/>
          <ac:spMkLst>
            <pc:docMk/>
            <pc:sldMk cId="3742330078" sldId="291"/>
            <ac:spMk id="13" creationId="{A9BC3BC2-F1E3-135F-FCBF-3961BEE474FA}"/>
          </ac:spMkLst>
        </pc:spChg>
        <pc:spChg chg="mod">
          <ac:chgData name="Florent Ferizaj" userId="1ac95d67-9df5-47eb-b975-9543de642a3b" providerId="ADAL" clId="{14C92A01-973B-41D4-8BEC-84BE133B9246}" dt="2023-10-05T06:59:22.792" v="1696" actId="1076"/>
          <ac:spMkLst>
            <pc:docMk/>
            <pc:sldMk cId="3742330078" sldId="291"/>
            <ac:spMk id="14" creationId="{53C2D7D9-7F5F-47A2-AFFF-81AB26473591}"/>
          </ac:spMkLst>
        </pc:spChg>
        <pc:spChg chg="del mod">
          <ac:chgData name="Florent Ferizaj" userId="1ac95d67-9df5-47eb-b975-9543de642a3b" providerId="ADAL" clId="{14C92A01-973B-41D4-8BEC-84BE133B9246}" dt="2023-10-04T13:48:38.721" v="801" actId="478"/>
          <ac:spMkLst>
            <pc:docMk/>
            <pc:sldMk cId="3742330078" sldId="291"/>
            <ac:spMk id="15" creationId="{1D9EAF77-033E-452A-9006-814500515E05}"/>
          </ac:spMkLst>
        </pc:spChg>
        <pc:spChg chg="mod">
          <ac:chgData name="Florent Ferizaj" userId="1ac95d67-9df5-47eb-b975-9543de642a3b" providerId="ADAL" clId="{14C92A01-973B-41D4-8BEC-84BE133B9246}" dt="2023-10-06T07:15:24.825" v="2563" actId="165"/>
          <ac:spMkLst>
            <pc:docMk/>
            <pc:sldMk cId="3742330078" sldId="291"/>
            <ac:spMk id="15" creationId="{2AA0748F-0D62-1966-FCD6-3A2F5C9E0DFB}"/>
          </ac:spMkLst>
        </pc:spChg>
        <pc:spChg chg="del">
          <ac:chgData name="Florent Ferizaj" userId="1ac95d67-9df5-47eb-b975-9543de642a3b" providerId="ADAL" clId="{14C92A01-973B-41D4-8BEC-84BE133B9246}" dt="2023-10-05T07:36:52.826" v="2082" actId="478"/>
          <ac:spMkLst>
            <pc:docMk/>
            <pc:sldMk cId="3742330078" sldId="291"/>
            <ac:spMk id="20" creationId="{9D30D053-D0E9-44FB-8AE6-0F71A690D06D}"/>
          </ac:spMkLst>
        </pc:spChg>
        <pc:spChg chg="del">
          <ac:chgData name="Florent Ferizaj" userId="1ac95d67-9df5-47eb-b975-9543de642a3b" providerId="ADAL" clId="{14C92A01-973B-41D4-8BEC-84BE133B9246}" dt="2023-10-04T13:55:22.455" v="815" actId="478"/>
          <ac:spMkLst>
            <pc:docMk/>
            <pc:sldMk cId="3742330078" sldId="291"/>
            <ac:spMk id="34" creationId="{BB52DBE3-74C3-CEFF-C850-A827B662342E}"/>
          </ac:spMkLst>
        </pc:spChg>
        <pc:spChg chg="del">
          <ac:chgData name="Florent Ferizaj" userId="1ac95d67-9df5-47eb-b975-9543de642a3b" providerId="ADAL" clId="{14C92A01-973B-41D4-8BEC-84BE133B9246}" dt="2023-10-04T13:55:20.720" v="814" actId="478"/>
          <ac:spMkLst>
            <pc:docMk/>
            <pc:sldMk cId="3742330078" sldId="291"/>
            <ac:spMk id="35" creationId="{54A56F54-B5CE-C2A4-DA91-D4A8EE196F8E}"/>
          </ac:spMkLst>
        </pc:spChg>
        <pc:grpChg chg="add del mod topLvl">
          <ac:chgData name="Florent Ferizaj" userId="1ac95d67-9df5-47eb-b975-9543de642a3b" providerId="ADAL" clId="{14C92A01-973B-41D4-8BEC-84BE133B9246}" dt="2023-10-06T07:15:51.070" v="2569" actId="164"/>
          <ac:grpSpMkLst>
            <pc:docMk/>
            <pc:sldMk cId="3742330078" sldId="291"/>
            <ac:grpSpMk id="8" creationId="{53E04ECD-2C44-489A-8C02-548063CC488D}"/>
          </ac:grpSpMkLst>
        </pc:grpChg>
        <pc:grpChg chg="add mod topLvl">
          <ac:chgData name="Florent Ferizaj" userId="1ac95d67-9df5-47eb-b975-9543de642a3b" providerId="ADAL" clId="{14C92A01-973B-41D4-8BEC-84BE133B9246}" dt="2023-10-06T07:15:51.070" v="2569" actId="164"/>
          <ac:grpSpMkLst>
            <pc:docMk/>
            <pc:sldMk cId="3742330078" sldId="291"/>
            <ac:grpSpMk id="12" creationId="{AB548B7D-72CD-D36B-2D74-B6A42D11B1FC}"/>
          </ac:grpSpMkLst>
        </pc:grpChg>
        <pc:grpChg chg="add del mod">
          <ac:chgData name="Florent Ferizaj" userId="1ac95d67-9df5-47eb-b975-9543de642a3b" providerId="ADAL" clId="{14C92A01-973B-41D4-8BEC-84BE133B9246}" dt="2023-10-06T07:15:24.825" v="2563" actId="165"/>
          <ac:grpSpMkLst>
            <pc:docMk/>
            <pc:sldMk cId="3742330078" sldId="291"/>
            <ac:grpSpMk id="16" creationId="{FC85BF08-673D-0A43-8655-DD375B58123C}"/>
          </ac:grpSpMkLst>
        </pc:grpChg>
        <pc:grpChg chg="add mod">
          <ac:chgData name="Florent Ferizaj" userId="1ac95d67-9df5-47eb-b975-9543de642a3b" providerId="ADAL" clId="{14C92A01-973B-41D4-8BEC-84BE133B9246}" dt="2023-10-06T07:15:55.728" v="2573" actId="1076"/>
          <ac:grpSpMkLst>
            <pc:docMk/>
            <pc:sldMk cId="3742330078" sldId="291"/>
            <ac:grpSpMk id="17" creationId="{7253822F-66FD-7F74-A7F5-2155475AC1D4}"/>
          </ac:grpSpMkLst>
        </pc:grpChg>
        <pc:grpChg chg="del">
          <ac:chgData name="Florent Ferizaj" userId="1ac95d67-9df5-47eb-b975-9543de642a3b" providerId="ADAL" clId="{14C92A01-973B-41D4-8BEC-84BE133B9246}" dt="2023-10-04T13:45:39.531" v="648" actId="478"/>
          <ac:grpSpMkLst>
            <pc:docMk/>
            <pc:sldMk cId="3742330078" sldId="291"/>
            <ac:grpSpMk id="31" creationId="{B466D389-647E-4D20-12CC-82BA4E150F9F}"/>
          </ac:grpSpMkLst>
        </pc:grpChg>
        <pc:graphicFrameChg chg="add del mod">
          <ac:chgData name="Florent Ferizaj" userId="1ac95d67-9df5-47eb-b975-9543de642a3b" providerId="ADAL" clId="{14C92A01-973B-41D4-8BEC-84BE133B9246}" dt="2023-10-04T13:51:00.801" v="813" actId="12084"/>
          <ac:graphicFrameMkLst>
            <pc:docMk/>
            <pc:sldMk cId="3742330078" sldId="291"/>
            <ac:graphicFrameMk id="4" creationId="{962D8ED7-EA0E-BA3A-E700-FC8B85CA1516}"/>
          </ac:graphicFrameMkLst>
        </pc:graphicFrameChg>
        <pc:picChg chg="add mod">
          <ac:chgData name="Florent Ferizaj" userId="1ac95d67-9df5-47eb-b975-9543de642a3b" providerId="ADAL" clId="{14C92A01-973B-41D4-8BEC-84BE133B9246}" dt="2023-10-05T07:36:13.797" v="2078"/>
          <ac:picMkLst>
            <pc:docMk/>
            <pc:sldMk cId="3742330078" sldId="291"/>
            <ac:picMk id="4" creationId="{88222990-C619-8D55-9753-0941432DAA0B}"/>
          </ac:picMkLst>
        </pc:picChg>
      </pc:sldChg>
      <pc:sldChg chg="addSp delSp modSp mod delAnim">
        <pc:chgData name="Florent Ferizaj" userId="1ac95d67-9df5-47eb-b975-9543de642a3b" providerId="ADAL" clId="{14C92A01-973B-41D4-8BEC-84BE133B9246}" dt="2023-10-05T08:20:53.739" v="2151" actId="14826"/>
        <pc:sldMkLst>
          <pc:docMk/>
          <pc:sldMk cId="3116769435" sldId="293"/>
        </pc:sldMkLst>
        <pc:spChg chg="add mod ord">
          <ac:chgData name="Florent Ferizaj" userId="1ac95d67-9df5-47eb-b975-9543de642a3b" providerId="ADAL" clId="{14C92A01-973B-41D4-8BEC-84BE133B9246}" dt="2023-10-05T08:20:12.147" v="2149" actId="14100"/>
          <ac:spMkLst>
            <pc:docMk/>
            <pc:sldMk cId="3116769435" sldId="293"/>
            <ac:spMk id="3" creationId="{19ECBEC7-E2AE-92B6-E417-010E849E02AE}"/>
          </ac:spMkLst>
        </pc:spChg>
        <pc:spChg chg="del">
          <ac:chgData name="Florent Ferizaj" userId="1ac95d67-9df5-47eb-b975-9543de642a3b" providerId="ADAL" clId="{14C92A01-973B-41D4-8BEC-84BE133B9246}" dt="2023-10-04T13:59:33.570" v="1041" actId="478"/>
          <ac:spMkLst>
            <pc:docMk/>
            <pc:sldMk cId="3116769435" sldId="293"/>
            <ac:spMk id="3" creationId="{C754E8ED-0313-1CDF-CE89-E40CFD58F16C}"/>
          </ac:spMkLst>
        </pc:spChg>
        <pc:spChg chg="mod">
          <ac:chgData name="Florent Ferizaj" userId="1ac95d67-9df5-47eb-b975-9543de642a3b" providerId="ADAL" clId="{14C92A01-973B-41D4-8BEC-84BE133B9246}" dt="2023-10-05T07:07:28.303" v="1770" actId="1076"/>
          <ac:spMkLst>
            <pc:docMk/>
            <pc:sldMk cId="3116769435" sldId="293"/>
            <ac:spMk id="4" creationId="{3491108B-6078-43FD-A05D-C0C59D42639D}"/>
          </ac:spMkLst>
        </pc:spChg>
        <pc:spChg chg="del mod">
          <ac:chgData name="Florent Ferizaj" userId="1ac95d67-9df5-47eb-b975-9543de642a3b" providerId="ADAL" clId="{14C92A01-973B-41D4-8BEC-84BE133B9246}" dt="2023-10-04T14:00:07.936" v="1052" actId="478"/>
          <ac:spMkLst>
            <pc:docMk/>
            <pc:sldMk cId="3116769435" sldId="293"/>
            <ac:spMk id="5" creationId="{9E6FFFD3-45E9-4557-BCD5-ECCC3C9DE56C}"/>
          </ac:spMkLst>
        </pc:spChg>
        <pc:spChg chg="del">
          <ac:chgData name="Florent Ferizaj" userId="1ac95d67-9df5-47eb-b975-9543de642a3b" providerId="ADAL" clId="{14C92A01-973B-41D4-8BEC-84BE133B9246}" dt="2023-10-04T14:00:09.523" v="1053" actId="478"/>
          <ac:spMkLst>
            <pc:docMk/>
            <pc:sldMk cId="3116769435" sldId="293"/>
            <ac:spMk id="6" creationId="{B3FDA9C0-147E-4ADE-922B-8239CE2E23AA}"/>
          </ac:spMkLst>
        </pc:spChg>
        <pc:spChg chg="del mod">
          <ac:chgData name="Florent Ferizaj" userId="1ac95d67-9df5-47eb-b975-9543de642a3b" providerId="ADAL" clId="{14C92A01-973B-41D4-8BEC-84BE133B9246}" dt="2023-10-04T13:59:49.313" v="1050" actId="478"/>
          <ac:spMkLst>
            <pc:docMk/>
            <pc:sldMk cId="3116769435" sldId="293"/>
            <ac:spMk id="7" creationId="{2B967122-5E5F-4AF5-3839-0AF662E8CEA0}"/>
          </ac:spMkLst>
        </pc:spChg>
        <pc:spChg chg="del">
          <ac:chgData name="Florent Ferizaj" userId="1ac95d67-9df5-47eb-b975-9543de642a3b" providerId="ADAL" clId="{14C92A01-973B-41D4-8BEC-84BE133B9246}" dt="2023-10-04T13:59:37.240" v="1043" actId="478"/>
          <ac:spMkLst>
            <pc:docMk/>
            <pc:sldMk cId="3116769435" sldId="293"/>
            <ac:spMk id="8" creationId="{C5EC0613-A06E-38C9-11F5-B744E9C00AB4}"/>
          </ac:spMkLst>
        </pc:spChg>
        <pc:spChg chg="del">
          <ac:chgData name="Florent Ferizaj" userId="1ac95d67-9df5-47eb-b975-9543de642a3b" providerId="ADAL" clId="{14C92A01-973B-41D4-8BEC-84BE133B9246}" dt="2023-10-04T13:59:35.617" v="1042" actId="478"/>
          <ac:spMkLst>
            <pc:docMk/>
            <pc:sldMk cId="3116769435" sldId="293"/>
            <ac:spMk id="9" creationId="{C5A8E997-A8A9-A133-B7D6-0BD911911BFB}"/>
          </ac:spMkLst>
        </pc:spChg>
        <pc:spChg chg="del mod">
          <ac:chgData name="Florent Ferizaj" userId="1ac95d67-9df5-47eb-b975-9543de642a3b" providerId="ADAL" clId="{14C92A01-973B-41D4-8BEC-84BE133B9246}" dt="2023-10-05T07:06:26.483" v="1749" actId="478"/>
          <ac:spMkLst>
            <pc:docMk/>
            <pc:sldMk cId="3116769435" sldId="293"/>
            <ac:spMk id="10" creationId="{506DC323-02DB-48F0-A2FE-878399F1F770}"/>
          </ac:spMkLst>
        </pc:spChg>
        <pc:spChg chg="del">
          <ac:chgData name="Florent Ferizaj" userId="1ac95d67-9df5-47eb-b975-9543de642a3b" providerId="ADAL" clId="{14C92A01-973B-41D4-8BEC-84BE133B9246}" dt="2023-10-04T13:59:44.741" v="1049" actId="478"/>
          <ac:spMkLst>
            <pc:docMk/>
            <pc:sldMk cId="3116769435" sldId="293"/>
            <ac:spMk id="11" creationId="{09DF1DA0-4799-4E7C-9EF6-6434EE696FF8}"/>
          </ac:spMkLst>
        </pc:spChg>
        <pc:spChg chg="del">
          <ac:chgData name="Florent Ferizaj" userId="1ac95d67-9df5-47eb-b975-9543de642a3b" providerId="ADAL" clId="{14C92A01-973B-41D4-8BEC-84BE133B9246}" dt="2023-10-04T13:59:42.358" v="1047" actId="478"/>
          <ac:spMkLst>
            <pc:docMk/>
            <pc:sldMk cId="3116769435" sldId="293"/>
            <ac:spMk id="12" creationId="{C1A2C7DF-311C-E958-19FD-C152BB35534D}"/>
          </ac:spMkLst>
        </pc:spChg>
        <pc:spChg chg="del mod">
          <ac:chgData name="Florent Ferizaj" userId="1ac95d67-9df5-47eb-b975-9543de642a3b" providerId="ADAL" clId="{14C92A01-973B-41D4-8BEC-84BE133B9246}" dt="2023-10-04T13:59:40.902" v="1046" actId="478"/>
          <ac:spMkLst>
            <pc:docMk/>
            <pc:sldMk cId="3116769435" sldId="293"/>
            <ac:spMk id="13" creationId="{4610D2B2-8AA0-E304-7ADD-72F7AC5B22C0}"/>
          </ac:spMkLst>
        </pc:spChg>
        <pc:spChg chg="del">
          <ac:chgData name="Florent Ferizaj" userId="1ac95d67-9df5-47eb-b975-9543de642a3b" providerId="ADAL" clId="{14C92A01-973B-41D4-8BEC-84BE133B9246}" dt="2023-10-04T13:59:31.432" v="1039" actId="478"/>
          <ac:spMkLst>
            <pc:docMk/>
            <pc:sldMk cId="3116769435" sldId="293"/>
            <ac:spMk id="15" creationId="{16FE9499-11FF-4FFE-AC4A-087B19B57B05}"/>
          </ac:spMkLst>
        </pc:spChg>
        <pc:spChg chg="del">
          <ac:chgData name="Florent Ferizaj" userId="1ac95d67-9df5-47eb-b975-9543de642a3b" providerId="ADAL" clId="{14C92A01-973B-41D4-8BEC-84BE133B9246}" dt="2023-10-04T13:59:43.739" v="1048" actId="478"/>
          <ac:spMkLst>
            <pc:docMk/>
            <pc:sldMk cId="3116769435" sldId="293"/>
            <ac:spMk id="17" creationId="{53B26939-0B1E-4A9A-9DF7-13965C0870E7}"/>
          </ac:spMkLst>
        </pc:spChg>
        <pc:spChg chg="del mod">
          <ac:chgData name="Florent Ferizaj" userId="1ac95d67-9df5-47eb-b975-9543de642a3b" providerId="ADAL" clId="{14C92A01-973B-41D4-8BEC-84BE133B9246}" dt="2023-10-05T07:07:14.892" v="1768" actId="478"/>
          <ac:spMkLst>
            <pc:docMk/>
            <pc:sldMk cId="3116769435" sldId="293"/>
            <ac:spMk id="20" creationId="{2BA914CB-EDDF-A7C7-89A5-40284DBFC576}"/>
          </ac:spMkLst>
        </pc:spChg>
        <pc:spChg chg="del">
          <ac:chgData name="Florent Ferizaj" userId="1ac95d67-9df5-47eb-b975-9543de642a3b" providerId="ADAL" clId="{14C92A01-973B-41D4-8BEC-84BE133B9246}" dt="2023-10-05T07:07:17.506" v="1769" actId="478"/>
          <ac:spMkLst>
            <pc:docMk/>
            <pc:sldMk cId="3116769435" sldId="293"/>
            <ac:spMk id="21" creationId="{284A5384-720E-A327-DBA4-94E5E13C14EC}"/>
          </ac:spMkLst>
        </pc:spChg>
        <pc:picChg chg="add mod ord">
          <ac:chgData name="Florent Ferizaj" userId="1ac95d67-9df5-47eb-b975-9543de642a3b" providerId="ADAL" clId="{14C92A01-973B-41D4-8BEC-84BE133B9246}" dt="2023-10-05T08:20:53.739" v="2151" actId="14826"/>
          <ac:picMkLst>
            <pc:docMk/>
            <pc:sldMk cId="3116769435" sldId="293"/>
            <ac:picMk id="2" creationId="{AF752636-8BA5-3EC1-49A7-65CD110E0EB8}"/>
          </ac:picMkLst>
        </pc:picChg>
        <pc:picChg chg="add mod">
          <ac:chgData name="Florent Ferizaj" userId="1ac95d67-9df5-47eb-b975-9543de642a3b" providerId="ADAL" clId="{14C92A01-973B-41D4-8BEC-84BE133B9246}" dt="2023-10-05T08:20:16.536" v="2150"/>
          <ac:picMkLst>
            <pc:docMk/>
            <pc:sldMk cId="3116769435" sldId="293"/>
            <ac:picMk id="5" creationId="{24497154-3034-9949-2612-5221F9B8CD98}"/>
          </ac:picMkLst>
        </pc:picChg>
      </pc:sldChg>
      <pc:sldChg chg="addSp delSp modSp mod">
        <pc:chgData name="Florent Ferizaj" userId="1ac95d67-9df5-47eb-b975-9543de642a3b" providerId="ADAL" clId="{14C92A01-973B-41D4-8BEC-84BE133B9246}" dt="2023-10-06T06:47:58.351" v="2520" actId="207"/>
        <pc:sldMkLst>
          <pc:docMk/>
          <pc:sldMk cId="4066983310" sldId="294"/>
        </pc:sldMkLst>
        <pc:spChg chg="add del">
          <ac:chgData name="Florent Ferizaj" userId="1ac95d67-9df5-47eb-b975-9543de642a3b" providerId="ADAL" clId="{14C92A01-973B-41D4-8BEC-84BE133B9246}" dt="2023-10-05T07:38:17.025" v="2132" actId="21"/>
          <ac:spMkLst>
            <pc:docMk/>
            <pc:sldMk cId="4066983310" sldId="294"/>
            <ac:spMk id="2" creationId="{0F22D808-9A73-4281-E10A-F9BEE0AE946B}"/>
          </ac:spMkLst>
        </pc:spChg>
        <pc:spChg chg="add del mod">
          <ac:chgData name="Florent Ferizaj" userId="1ac95d67-9df5-47eb-b975-9543de642a3b" providerId="ADAL" clId="{14C92A01-973B-41D4-8BEC-84BE133B9246}" dt="2023-10-05T07:14:04.880" v="1852" actId="21"/>
          <ac:spMkLst>
            <pc:docMk/>
            <pc:sldMk cId="4066983310" sldId="294"/>
            <ac:spMk id="2" creationId="{8E5470D5-2092-F61F-B2DF-BC357E5292FF}"/>
          </ac:spMkLst>
        </pc:spChg>
        <pc:spChg chg="mod">
          <ac:chgData name="Florent Ferizaj" userId="1ac95d67-9df5-47eb-b975-9543de642a3b" providerId="ADAL" clId="{14C92A01-973B-41D4-8BEC-84BE133B9246}" dt="2023-10-06T06:47:58.351" v="2520" actId="207"/>
          <ac:spMkLst>
            <pc:docMk/>
            <pc:sldMk cId="4066983310" sldId="294"/>
            <ac:spMk id="3" creationId="{0DD5FB3A-0490-1D64-46C6-AB84745DE096}"/>
          </ac:spMkLst>
        </pc:spChg>
        <pc:spChg chg="add del mod">
          <ac:chgData name="Florent Ferizaj" userId="1ac95d67-9df5-47eb-b975-9543de642a3b" providerId="ADAL" clId="{14C92A01-973B-41D4-8BEC-84BE133B9246}" dt="2023-10-04T14:21:37.539" v="1113" actId="478"/>
          <ac:spMkLst>
            <pc:docMk/>
            <pc:sldMk cId="4066983310" sldId="294"/>
            <ac:spMk id="4" creationId="{0DA1D3ED-5512-B1CD-5B1D-A9906407F997}"/>
          </ac:spMkLst>
        </pc:spChg>
        <pc:spChg chg="mod">
          <ac:chgData name="Florent Ferizaj" userId="1ac95d67-9df5-47eb-b975-9543de642a3b" providerId="ADAL" clId="{14C92A01-973B-41D4-8BEC-84BE133B9246}" dt="2023-10-06T06:47:58.351" v="2520" actId="207"/>
          <ac:spMkLst>
            <pc:docMk/>
            <pc:sldMk cId="4066983310" sldId="294"/>
            <ac:spMk id="4" creationId="{84B473A4-803D-641F-6AB8-50674E0DEDC7}"/>
          </ac:spMkLst>
        </pc:spChg>
        <pc:spChg chg="add mod topLvl">
          <ac:chgData name="Florent Ferizaj" userId="1ac95d67-9df5-47eb-b975-9543de642a3b" providerId="ADAL" clId="{14C92A01-973B-41D4-8BEC-84BE133B9246}" dt="2023-10-05T07:38:07.784" v="2130" actId="1037"/>
          <ac:spMkLst>
            <pc:docMk/>
            <pc:sldMk cId="4066983310" sldId="294"/>
            <ac:spMk id="5" creationId="{78F33552-946A-7B99-27B2-1C48F5B6A36D}"/>
          </ac:spMkLst>
        </pc:spChg>
        <pc:spChg chg="mod">
          <ac:chgData name="Florent Ferizaj" userId="1ac95d67-9df5-47eb-b975-9543de642a3b" providerId="ADAL" clId="{14C92A01-973B-41D4-8BEC-84BE133B9246}" dt="2023-10-06T06:47:58.351" v="2520" actId="207"/>
          <ac:spMkLst>
            <pc:docMk/>
            <pc:sldMk cId="4066983310" sldId="294"/>
            <ac:spMk id="6" creationId="{A4CD53E2-B03D-164F-17D8-A1110E2841EF}"/>
          </ac:spMkLst>
        </pc:spChg>
        <pc:spChg chg="del">
          <ac:chgData name="Florent Ferizaj" userId="1ac95d67-9df5-47eb-b975-9543de642a3b" providerId="ADAL" clId="{14C92A01-973B-41D4-8BEC-84BE133B9246}" dt="2023-10-04T14:23:16.327" v="1118" actId="478"/>
          <ac:spMkLst>
            <pc:docMk/>
            <pc:sldMk cId="4066983310" sldId="294"/>
            <ac:spMk id="6" creationId="{A6E66F53-6C39-40AF-8652-26328F0776F2}"/>
          </ac:spMkLst>
        </pc:spChg>
        <pc:spChg chg="mod">
          <ac:chgData name="Florent Ferizaj" userId="1ac95d67-9df5-47eb-b975-9543de642a3b" providerId="ADAL" clId="{14C92A01-973B-41D4-8BEC-84BE133B9246}" dt="2023-10-06T06:47:58.351" v="2520" actId="207"/>
          <ac:spMkLst>
            <pc:docMk/>
            <pc:sldMk cId="4066983310" sldId="294"/>
            <ac:spMk id="7" creationId="{9E3B5ADF-9DA2-ACE8-07F3-608866A35684}"/>
          </ac:spMkLst>
        </pc:spChg>
        <pc:spChg chg="mod">
          <ac:chgData name="Florent Ferizaj" userId="1ac95d67-9df5-47eb-b975-9543de642a3b" providerId="ADAL" clId="{14C92A01-973B-41D4-8BEC-84BE133B9246}" dt="2023-10-06T06:47:58.351" v="2520" actId="207"/>
          <ac:spMkLst>
            <pc:docMk/>
            <pc:sldMk cId="4066983310" sldId="294"/>
            <ac:spMk id="8" creationId="{16385733-798C-3F8A-F4EF-7DAC1DE3043C}"/>
          </ac:spMkLst>
        </pc:spChg>
        <pc:spChg chg="mod topLvl">
          <ac:chgData name="Florent Ferizaj" userId="1ac95d67-9df5-47eb-b975-9543de642a3b" providerId="ADAL" clId="{14C92A01-973B-41D4-8BEC-84BE133B9246}" dt="2023-10-05T07:37:55.135" v="2084" actId="165"/>
          <ac:spMkLst>
            <pc:docMk/>
            <pc:sldMk cId="4066983310" sldId="294"/>
            <ac:spMk id="21" creationId="{294107FC-082D-4E89-8136-9588E6158E28}"/>
          </ac:spMkLst>
        </pc:spChg>
        <pc:spChg chg="del">
          <ac:chgData name="Florent Ferizaj" userId="1ac95d67-9df5-47eb-b975-9543de642a3b" providerId="ADAL" clId="{14C92A01-973B-41D4-8BEC-84BE133B9246}" dt="2023-10-04T14:23:24.670" v="1119" actId="478"/>
          <ac:spMkLst>
            <pc:docMk/>
            <pc:sldMk cId="4066983310" sldId="294"/>
            <ac:spMk id="34" creationId="{97460FAF-D968-422C-B2D6-9184C7297AF4}"/>
          </ac:spMkLst>
        </pc:spChg>
        <pc:grpChg chg="add mod">
          <ac:chgData name="Florent Ferizaj" userId="1ac95d67-9df5-47eb-b975-9543de642a3b" providerId="ADAL" clId="{14C92A01-973B-41D4-8BEC-84BE133B9246}" dt="2023-10-06T06:47:58.351" v="2520" actId="207"/>
          <ac:grpSpMkLst>
            <pc:docMk/>
            <pc:sldMk cId="4066983310" sldId="294"/>
            <ac:grpSpMk id="2" creationId="{723265D9-6624-2BCA-F18F-133B4A38A6EE}"/>
          </ac:grpSpMkLst>
        </pc:grpChg>
        <pc:grpChg chg="add del mod">
          <ac:chgData name="Florent Ferizaj" userId="1ac95d67-9df5-47eb-b975-9543de642a3b" providerId="ADAL" clId="{14C92A01-973B-41D4-8BEC-84BE133B9246}" dt="2023-10-05T07:37:55.135" v="2084" actId="165"/>
          <ac:grpSpMkLst>
            <pc:docMk/>
            <pc:sldMk cId="4066983310" sldId="294"/>
            <ac:grpSpMk id="3" creationId="{B4D909DE-EE5D-2C9C-2093-FCBEF095FBF2}"/>
          </ac:grpSpMkLst>
        </pc:grpChg>
        <pc:picChg chg="del">
          <ac:chgData name="Florent Ferizaj" userId="1ac95d67-9df5-47eb-b975-9543de642a3b" providerId="ADAL" clId="{14C92A01-973B-41D4-8BEC-84BE133B9246}" dt="2023-10-04T14:21:35.462" v="1112" actId="478"/>
          <ac:picMkLst>
            <pc:docMk/>
            <pc:sldMk cId="4066983310" sldId="294"/>
            <ac:picMk id="3" creationId="{1CB2B2BA-EBAB-C085-AB77-DDD0990EFFA4}"/>
          </ac:picMkLst>
        </pc:picChg>
      </pc:sldChg>
      <pc:sldChg chg="addSp delSp modSp mod delAnim">
        <pc:chgData name="Florent Ferizaj" userId="1ac95d67-9df5-47eb-b975-9543de642a3b" providerId="ADAL" clId="{14C92A01-973B-41D4-8BEC-84BE133B9246}" dt="2023-10-05T15:08:17.958" v="2505" actId="1076"/>
        <pc:sldMkLst>
          <pc:docMk/>
          <pc:sldMk cId="2782898625" sldId="295"/>
        </pc:sldMkLst>
        <pc:spChg chg="del mod">
          <ac:chgData name="Florent Ferizaj" userId="1ac95d67-9df5-47eb-b975-9543de642a3b" providerId="ADAL" clId="{14C92A01-973B-41D4-8BEC-84BE133B9246}" dt="2023-10-04T14:28:22.315" v="1248" actId="478"/>
          <ac:spMkLst>
            <pc:docMk/>
            <pc:sldMk cId="2782898625" sldId="295"/>
            <ac:spMk id="2" creationId="{98387645-F2F8-4F3A-B1C8-B9EBC8B7FAEC}"/>
          </ac:spMkLst>
        </pc:spChg>
        <pc:spChg chg="add mod">
          <ac:chgData name="Florent Ferizaj" userId="1ac95d67-9df5-47eb-b975-9543de642a3b" providerId="ADAL" clId="{14C92A01-973B-41D4-8BEC-84BE133B9246}" dt="2023-10-05T14:14:33.702" v="2492" actId="14100"/>
          <ac:spMkLst>
            <pc:docMk/>
            <pc:sldMk cId="2782898625" sldId="295"/>
            <ac:spMk id="3" creationId="{93B57E85-F2BD-227C-39D7-D67B8A6339F0}"/>
          </ac:spMkLst>
        </pc:spChg>
        <pc:spChg chg="add mod">
          <ac:chgData name="Florent Ferizaj" userId="1ac95d67-9df5-47eb-b975-9543de642a3b" providerId="ADAL" clId="{14C92A01-973B-41D4-8BEC-84BE133B9246}" dt="2023-10-05T14:14:35.579" v="2493" actId="14100"/>
          <ac:spMkLst>
            <pc:docMk/>
            <pc:sldMk cId="2782898625" sldId="295"/>
            <ac:spMk id="4" creationId="{D217CAC5-CED8-934E-0486-36CD968E2FBB}"/>
          </ac:spMkLst>
        </pc:spChg>
        <pc:spChg chg="mod">
          <ac:chgData name="Florent Ferizaj" userId="1ac95d67-9df5-47eb-b975-9543de642a3b" providerId="ADAL" clId="{14C92A01-973B-41D4-8BEC-84BE133B9246}" dt="2023-10-05T11:23:39.843" v="2343" actId="1076"/>
          <ac:spMkLst>
            <pc:docMk/>
            <pc:sldMk cId="2782898625" sldId="295"/>
            <ac:spMk id="5" creationId="{B17086EC-95C7-43D2-9C0B-20AC9CF4EF1B}"/>
          </ac:spMkLst>
        </pc:spChg>
        <pc:spChg chg="add mod">
          <ac:chgData name="Florent Ferizaj" userId="1ac95d67-9df5-47eb-b975-9543de642a3b" providerId="ADAL" clId="{14C92A01-973B-41D4-8BEC-84BE133B9246}" dt="2023-10-05T14:14:30.908" v="2491" actId="14100"/>
          <ac:spMkLst>
            <pc:docMk/>
            <pc:sldMk cId="2782898625" sldId="295"/>
            <ac:spMk id="6" creationId="{97F81100-73C3-A18B-12C4-9598CAF0842E}"/>
          </ac:spMkLst>
        </pc:spChg>
        <pc:spChg chg="add mod ord">
          <ac:chgData name="Florent Ferizaj" userId="1ac95d67-9df5-47eb-b975-9543de642a3b" providerId="ADAL" clId="{14C92A01-973B-41D4-8BEC-84BE133B9246}" dt="2023-10-05T14:14:22.607" v="2489" actId="14100"/>
          <ac:spMkLst>
            <pc:docMk/>
            <pc:sldMk cId="2782898625" sldId="295"/>
            <ac:spMk id="9" creationId="{C9D29308-552B-C87C-06B8-4E5DF889BFAC}"/>
          </ac:spMkLst>
        </pc:spChg>
        <pc:spChg chg="del">
          <ac:chgData name="Florent Ferizaj" userId="1ac95d67-9df5-47eb-b975-9543de642a3b" providerId="ADAL" clId="{14C92A01-973B-41D4-8BEC-84BE133B9246}" dt="2023-10-04T14:28:19.164" v="1245" actId="478"/>
          <ac:spMkLst>
            <pc:docMk/>
            <pc:sldMk cId="2782898625" sldId="295"/>
            <ac:spMk id="12" creationId="{6F3DB945-A4E4-406F-96D0-C61904F93FED}"/>
          </ac:spMkLst>
        </pc:spChg>
        <pc:spChg chg="del mod">
          <ac:chgData name="Florent Ferizaj" userId="1ac95d67-9df5-47eb-b975-9543de642a3b" providerId="ADAL" clId="{14C92A01-973B-41D4-8BEC-84BE133B9246}" dt="2023-10-04T14:28:29.457" v="1252" actId="478"/>
          <ac:spMkLst>
            <pc:docMk/>
            <pc:sldMk cId="2782898625" sldId="295"/>
            <ac:spMk id="14" creationId="{D1246E3A-8D98-40E2-A780-248BEDA0FC67}"/>
          </ac:spMkLst>
        </pc:spChg>
        <pc:spChg chg="mod">
          <ac:chgData name="Florent Ferizaj" userId="1ac95d67-9df5-47eb-b975-9543de642a3b" providerId="ADAL" clId="{14C92A01-973B-41D4-8BEC-84BE133B9246}" dt="2023-10-05T15:08:17.958" v="2505" actId="1076"/>
          <ac:spMkLst>
            <pc:docMk/>
            <pc:sldMk cId="2782898625" sldId="295"/>
            <ac:spMk id="15" creationId="{A7BB9B5F-A8D1-4A38-BE45-DEC78E729B50}"/>
          </ac:spMkLst>
        </pc:spChg>
        <pc:spChg chg="del">
          <ac:chgData name="Florent Ferizaj" userId="1ac95d67-9df5-47eb-b975-9543de642a3b" providerId="ADAL" clId="{14C92A01-973B-41D4-8BEC-84BE133B9246}" dt="2023-10-04T14:28:17.516" v="1244" actId="478"/>
          <ac:spMkLst>
            <pc:docMk/>
            <pc:sldMk cId="2782898625" sldId="295"/>
            <ac:spMk id="16" creationId="{C1E3FDAF-144E-4437-A796-263CD64155B3}"/>
          </ac:spMkLst>
        </pc:spChg>
        <pc:spChg chg="del">
          <ac:chgData name="Florent Ferizaj" userId="1ac95d67-9df5-47eb-b975-9543de642a3b" providerId="ADAL" clId="{14C92A01-973B-41D4-8BEC-84BE133B9246}" dt="2023-10-04T14:28:15.813" v="1243" actId="478"/>
          <ac:spMkLst>
            <pc:docMk/>
            <pc:sldMk cId="2782898625" sldId="295"/>
            <ac:spMk id="17" creationId="{9347FB4A-0458-46D4-9AE5-6CF2803928B6}"/>
          </ac:spMkLst>
        </pc:spChg>
        <pc:spChg chg="del">
          <ac:chgData name="Florent Ferizaj" userId="1ac95d67-9df5-47eb-b975-9543de642a3b" providerId="ADAL" clId="{14C92A01-973B-41D4-8BEC-84BE133B9246}" dt="2023-10-04T14:28:20.099" v="1246" actId="478"/>
          <ac:spMkLst>
            <pc:docMk/>
            <pc:sldMk cId="2782898625" sldId="295"/>
            <ac:spMk id="18" creationId="{F61C4C2F-8645-4C86-B2AC-59D3C4A89574}"/>
          </ac:spMkLst>
        </pc:spChg>
        <pc:spChg chg="del">
          <ac:chgData name="Florent Ferizaj" userId="1ac95d67-9df5-47eb-b975-9543de642a3b" providerId="ADAL" clId="{14C92A01-973B-41D4-8BEC-84BE133B9246}" dt="2023-10-04T14:28:21.211" v="1247" actId="478"/>
          <ac:spMkLst>
            <pc:docMk/>
            <pc:sldMk cId="2782898625" sldId="295"/>
            <ac:spMk id="19" creationId="{F96D8484-79AE-4F18-9BB3-B4FE2FE0173D}"/>
          </ac:spMkLst>
        </pc:spChg>
        <pc:spChg chg="del">
          <ac:chgData name="Florent Ferizaj" userId="1ac95d67-9df5-47eb-b975-9543de642a3b" providerId="ADAL" clId="{14C92A01-973B-41D4-8BEC-84BE133B9246}" dt="2023-10-04T14:28:25.719" v="1249" actId="478"/>
          <ac:spMkLst>
            <pc:docMk/>
            <pc:sldMk cId="2782898625" sldId="295"/>
            <ac:spMk id="20" creationId="{C80AC63F-AE30-4A8C-8121-5F04D366C21B}"/>
          </ac:spMkLst>
        </pc:spChg>
        <pc:spChg chg="del">
          <ac:chgData name="Florent Ferizaj" userId="1ac95d67-9df5-47eb-b975-9543de642a3b" providerId="ADAL" clId="{14C92A01-973B-41D4-8BEC-84BE133B9246}" dt="2023-10-04T14:28:27.756" v="1250" actId="478"/>
          <ac:spMkLst>
            <pc:docMk/>
            <pc:sldMk cId="2782898625" sldId="295"/>
            <ac:spMk id="21" creationId="{1C71675E-5AD2-46FA-AE5F-53DC9101A4B7}"/>
          </ac:spMkLst>
        </pc:spChg>
        <pc:spChg chg="add mod">
          <ac:chgData name="Florent Ferizaj" userId="1ac95d67-9df5-47eb-b975-9543de642a3b" providerId="ADAL" clId="{14C92A01-973B-41D4-8BEC-84BE133B9246}" dt="2023-10-05T14:14:39.845" v="2494" actId="1076"/>
          <ac:spMkLst>
            <pc:docMk/>
            <pc:sldMk cId="2782898625" sldId="295"/>
            <ac:spMk id="21" creationId="{9E51F782-6050-ABA6-990D-F7194E164AE4}"/>
          </ac:spMkLst>
        </pc:spChg>
        <pc:spChg chg="add mod">
          <ac:chgData name="Florent Ferizaj" userId="1ac95d67-9df5-47eb-b975-9543de642a3b" providerId="ADAL" clId="{14C92A01-973B-41D4-8BEC-84BE133B9246}" dt="2023-10-05T12:10:54.130" v="2479" actId="207"/>
          <ac:spMkLst>
            <pc:docMk/>
            <pc:sldMk cId="2782898625" sldId="295"/>
            <ac:spMk id="22" creationId="{AE6FA8F9-ED6B-6A87-BC74-33E38FA12172}"/>
          </ac:spMkLst>
        </pc:spChg>
        <pc:spChg chg="add mod">
          <ac:chgData name="Florent Ferizaj" userId="1ac95d67-9df5-47eb-b975-9543de642a3b" providerId="ADAL" clId="{14C92A01-973B-41D4-8BEC-84BE133B9246}" dt="2023-10-05T12:10:59.079" v="2482" actId="207"/>
          <ac:spMkLst>
            <pc:docMk/>
            <pc:sldMk cId="2782898625" sldId="295"/>
            <ac:spMk id="23" creationId="{A4F40867-EF88-BD8F-71BF-11FFAA6DD01F}"/>
          </ac:spMkLst>
        </pc:spChg>
        <pc:grpChg chg="add del mod">
          <ac:chgData name="Florent Ferizaj" userId="1ac95d67-9df5-47eb-b975-9543de642a3b" providerId="ADAL" clId="{14C92A01-973B-41D4-8BEC-84BE133B9246}" dt="2023-10-05T15:08:03.128" v="2503" actId="165"/>
          <ac:grpSpMkLst>
            <pc:docMk/>
            <pc:sldMk cId="2782898625" sldId="295"/>
            <ac:grpSpMk id="2" creationId="{855A88D7-4618-4889-0600-F3F20E8A86BD}"/>
          </ac:grpSpMkLst>
        </pc:grpChg>
        <pc:grpChg chg="add del mod">
          <ac:chgData name="Florent Ferizaj" userId="1ac95d67-9df5-47eb-b975-9543de642a3b" providerId="ADAL" clId="{14C92A01-973B-41D4-8BEC-84BE133B9246}" dt="2023-10-05T15:07:04.811" v="2497" actId="165"/>
          <ac:grpSpMkLst>
            <pc:docMk/>
            <pc:sldMk cId="2782898625" sldId="295"/>
            <ac:grpSpMk id="20" creationId="{F180F9AD-3AF0-0A4D-4A64-429F73EEF9E5}"/>
          </ac:grpSpMkLst>
        </pc:grpChg>
        <pc:picChg chg="add mod">
          <ac:chgData name="Florent Ferizaj" userId="1ac95d67-9df5-47eb-b975-9543de642a3b" providerId="ADAL" clId="{14C92A01-973B-41D4-8BEC-84BE133B9246}" dt="2023-10-05T14:14:28.612" v="2490" actId="14100"/>
          <ac:picMkLst>
            <pc:docMk/>
            <pc:sldMk cId="2782898625" sldId="295"/>
            <ac:picMk id="7" creationId="{AD247AE9-4E53-EFC5-3653-989C3636309F}"/>
          </ac:picMkLst>
        </pc:picChg>
        <pc:picChg chg="add del mod">
          <ac:chgData name="Florent Ferizaj" userId="1ac95d67-9df5-47eb-b975-9543de642a3b" providerId="ADAL" clId="{14C92A01-973B-41D4-8BEC-84BE133B9246}" dt="2023-10-05T09:54:24.172" v="2232" actId="478"/>
          <ac:picMkLst>
            <pc:docMk/>
            <pc:sldMk cId="2782898625" sldId="295"/>
            <ac:picMk id="8" creationId="{0B79CBF2-61CF-657C-238E-30787E053A42}"/>
          </ac:picMkLst>
        </pc:picChg>
        <pc:picChg chg="add del mod">
          <ac:chgData name="Florent Ferizaj" userId="1ac95d67-9df5-47eb-b975-9543de642a3b" providerId="ADAL" clId="{14C92A01-973B-41D4-8BEC-84BE133B9246}" dt="2023-10-05T09:51:37.630" v="2179"/>
          <ac:picMkLst>
            <pc:docMk/>
            <pc:sldMk cId="2782898625" sldId="295"/>
            <ac:picMk id="10" creationId="{9ABFD393-6999-1B62-AF9A-23B5683C5E97}"/>
          </ac:picMkLst>
        </pc:picChg>
        <pc:picChg chg="add del mod">
          <ac:chgData name="Florent Ferizaj" userId="1ac95d67-9df5-47eb-b975-9543de642a3b" providerId="ADAL" clId="{14C92A01-973B-41D4-8BEC-84BE133B9246}" dt="2023-10-05T09:51:35.742" v="2173"/>
          <ac:picMkLst>
            <pc:docMk/>
            <pc:sldMk cId="2782898625" sldId="295"/>
            <ac:picMk id="12" creationId="{A7BF6EA9-885E-7E8C-C7C6-641E7FEB04EA}"/>
          </ac:picMkLst>
        </pc:picChg>
        <pc:picChg chg="add mod topLvl">
          <ac:chgData name="Florent Ferizaj" userId="1ac95d67-9df5-47eb-b975-9543de642a3b" providerId="ADAL" clId="{14C92A01-973B-41D4-8BEC-84BE133B9246}" dt="2023-10-05T15:08:03.128" v="2503" actId="165"/>
          <ac:picMkLst>
            <pc:docMk/>
            <pc:sldMk cId="2782898625" sldId="295"/>
            <ac:picMk id="14" creationId="{36615048-6B43-7001-3828-2F04E5E377BA}"/>
          </ac:picMkLst>
        </pc:picChg>
        <pc:picChg chg="add mod topLvl">
          <ac:chgData name="Florent Ferizaj" userId="1ac95d67-9df5-47eb-b975-9543de642a3b" providerId="ADAL" clId="{14C92A01-973B-41D4-8BEC-84BE133B9246}" dt="2023-10-05T15:08:03.128" v="2503" actId="165"/>
          <ac:picMkLst>
            <pc:docMk/>
            <pc:sldMk cId="2782898625" sldId="295"/>
            <ac:picMk id="17" creationId="{36AC1A03-9C0F-CD12-7A5E-6D617B4C539C}"/>
          </ac:picMkLst>
        </pc:picChg>
        <pc:picChg chg="add mod topLvl">
          <ac:chgData name="Florent Ferizaj" userId="1ac95d67-9df5-47eb-b975-9543de642a3b" providerId="ADAL" clId="{14C92A01-973B-41D4-8BEC-84BE133B9246}" dt="2023-10-05T15:08:03.128" v="2503" actId="165"/>
          <ac:picMkLst>
            <pc:docMk/>
            <pc:sldMk cId="2782898625" sldId="295"/>
            <ac:picMk id="19" creationId="{47E9AD06-3800-F4C8-CFB2-8168AD4CB22B}"/>
          </ac:picMkLst>
        </pc:picChg>
      </pc:sldChg>
      <pc:sldChg chg="addSp delSp modSp mod">
        <pc:chgData name="Florent Ferizaj" userId="1ac95d67-9df5-47eb-b975-9543de642a3b" providerId="ADAL" clId="{14C92A01-973B-41D4-8BEC-84BE133B9246}" dt="2023-10-06T06:51:18.544" v="2538" actId="1076"/>
        <pc:sldMkLst>
          <pc:docMk/>
          <pc:sldMk cId="2122430467" sldId="296"/>
        </pc:sldMkLst>
        <pc:spChg chg="add mod">
          <ac:chgData name="Florent Ferizaj" userId="1ac95d67-9df5-47eb-b975-9543de642a3b" providerId="ADAL" clId="{14C92A01-973B-41D4-8BEC-84BE133B9246}" dt="2023-10-05T07:38:29.705" v="2146" actId="1037"/>
          <ac:spMkLst>
            <pc:docMk/>
            <pc:sldMk cId="2122430467" sldId="296"/>
            <ac:spMk id="2" creationId="{7F546684-20C9-A9B0-64BD-D9F9409B421C}"/>
          </ac:spMkLst>
        </pc:spChg>
        <pc:spChg chg="add del mod">
          <ac:chgData name="Florent Ferizaj" userId="1ac95d67-9df5-47eb-b975-9543de642a3b" providerId="ADAL" clId="{14C92A01-973B-41D4-8BEC-84BE133B9246}" dt="2023-10-05T07:14:16.050" v="1872" actId="478"/>
          <ac:spMkLst>
            <pc:docMk/>
            <pc:sldMk cId="2122430467" sldId="296"/>
            <ac:spMk id="3" creationId="{70A9F9DC-B27E-0CBD-E0B5-167E3A65DE46}"/>
          </ac:spMkLst>
        </pc:spChg>
        <pc:spChg chg="add del mod">
          <ac:chgData name="Florent Ferizaj" userId="1ac95d67-9df5-47eb-b975-9543de642a3b" providerId="ADAL" clId="{14C92A01-973B-41D4-8BEC-84BE133B9246}" dt="2023-10-04T14:24:48.313" v="1187"/>
          <ac:spMkLst>
            <pc:docMk/>
            <pc:sldMk cId="2122430467" sldId="296"/>
            <ac:spMk id="3" creationId="{8434F3D4-1A72-6A1C-557B-5687FDEB978E}"/>
          </ac:spMkLst>
        </pc:spChg>
        <pc:spChg chg="del mod">
          <ac:chgData name="Florent Ferizaj" userId="1ac95d67-9df5-47eb-b975-9543de642a3b" providerId="ADAL" clId="{14C92A01-973B-41D4-8BEC-84BE133B9246}" dt="2023-10-06T06:49:50.692" v="2525" actId="478"/>
          <ac:spMkLst>
            <pc:docMk/>
            <pc:sldMk cId="2122430467" sldId="296"/>
            <ac:spMk id="4" creationId="{2A1C1137-2C55-687B-A412-9611B42E90F9}"/>
          </ac:spMkLst>
        </pc:spChg>
        <pc:spChg chg="mod">
          <ac:chgData name="Florent Ferizaj" userId="1ac95d67-9df5-47eb-b975-9543de642a3b" providerId="ADAL" clId="{14C92A01-973B-41D4-8BEC-84BE133B9246}" dt="2023-10-05T07:15:50.301" v="1891" actId="14100"/>
          <ac:spMkLst>
            <pc:docMk/>
            <pc:sldMk cId="2122430467" sldId="296"/>
            <ac:spMk id="5" creationId="{EE3F0A9E-006D-3068-8896-030287609885}"/>
          </ac:spMkLst>
        </pc:spChg>
        <pc:spChg chg="add mod">
          <ac:chgData name="Florent Ferizaj" userId="1ac95d67-9df5-47eb-b975-9543de642a3b" providerId="ADAL" clId="{14C92A01-973B-41D4-8BEC-84BE133B9246}" dt="2023-10-05T07:37:10.492" v="2083"/>
          <ac:spMkLst>
            <pc:docMk/>
            <pc:sldMk cId="2122430467" sldId="296"/>
            <ac:spMk id="6" creationId="{DCA8E491-87AF-E419-8835-48F4E198F919}"/>
          </ac:spMkLst>
        </pc:spChg>
        <pc:spChg chg="add mod">
          <ac:chgData name="Florent Ferizaj" userId="1ac95d67-9df5-47eb-b975-9543de642a3b" providerId="ADAL" clId="{14C92A01-973B-41D4-8BEC-84BE133B9246}" dt="2023-10-05T07:37:10.492" v="2083"/>
          <ac:spMkLst>
            <pc:docMk/>
            <pc:sldMk cId="2122430467" sldId="296"/>
            <ac:spMk id="7" creationId="{AA3279F8-F8CB-2E9A-9D38-E78B4EB445C0}"/>
          </ac:spMkLst>
        </pc:spChg>
        <pc:spChg chg="add del mod">
          <ac:chgData name="Florent Ferizaj" userId="1ac95d67-9df5-47eb-b975-9543de642a3b" providerId="ADAL" clId="{14C92A01-973B-41D4-8BEC-84BE133B9246}" dt="2023-10-05T07:38:31.418" v="2147" actId="478"/>
          <ac:spMkLst>
            <pc:docMk/>
            <pc:sldMk cId="2122430467" sldId="296"/>
            <ac:spMk id="8" creationId="{3394855A-5F18-3CEF-DEC3-3D163CF581DB}"/>
          </ac:spMkLst>
        </pc:spChg>
        <pc:spChg chg="mod">
          <ac:chgData name="Florent Ferizaj" userId="1ac95d67-9df5-47eb-b975-9543de642a3b" providerId="ADAL" clId="{14C92A01-973B-41D4-8BEC-84BE133B9246}" dt="2023-10-06T06:48:33.516" v="2523" actId="207"/>
          <ac:spMkLst>
            <pc:docMk/>
            <pc:sldMk cId="2122430467" sldId="296"/>
            <ac:spMk id="9" creationId="{DF2CBC57-E1D0-4CDA-40EF-BF3091C47652}"/>
          </ac:spMkLst>
        </pc:spChg>
        <pc:spChg chg="mod">
          <ac:chgData name="Florent Ferizaj" userId="1ac95d67-9df5-47eb-b975-9543de642a3b" providerId="ADAL" clId="{14C92A01-973B-41D4-8BEC-84BE133B9246}" dt="2023-10-06T06:48:33.516" v="2523" actId="207"/>
          <ac:spMkLst>
            <pc:docMk/>
            <pc:sldMk cId="2122430467" sldId="296"/>
            <ac:spMk id="10" creationId="{A48ED724-E80B-2A2A-9FCF-83CBEF25BC82}"/>
          </ac:spMkLst>
        </pc:spChg>
        <pc:spChg chg="mod">
          <ac:chgData name="Florent Ferizaj" userId="1ac95d67-9df5-47eb-b975-9543de642a3b" providerId="ADAL" clId="{14C92A01-973B-41D4-8BEC-84BE133B9246}" dt="2023-10-06T06:48:33.516" v="2523" actId="207"/>
          <ac:spMkLst>
            <pc:docMk/>
            <pc:sldMk cId="2122430467" sldId="296"/>
            <ac:spMk id="11" creationId="{426ED8E9-5DC0-744E-E463-31270040EBC6}"/>
          </ac:spMkLst>
        </pc:spChg>
        <pc:spChg chg="del mod">
          <ac:chgData name="Florent Ferizaj" userId="1ac95d67-9df5-47eb-b975-9543de642a3b" providerId="ADAL" clId="{14C92A01-973B-41D4-8BEC-84BE133B9246}" dt="2023-10-06T06:50:39.763" v="2530" actId="478"/>
          <ac:spMkLst>
            <pc:docMk/>
            <pc:sldMk cId="2122430467" sldId="296"/>
            <ac:spMk id="13" creationId="{CC377525-5F41-881F-416B-93DCB8FD0172}"/>
          </ac:spMkLst>
        </pc:spChg>
        <pc:spChg chg="mod ord">
          <ac:chgData name="Florent Ferizaj" userId="1ac95d67-9df5-47eb-b975-9543de642a3b" providerId="ADAL" clId="{14C92A01-973B-41D4-8BEC-84BE133B9246}" dt="2023-10-06T06:44:59.608" v="2511" actId="166"/>
          <ac:spMkLst>
            <pc:docMk/>
            <pc:sldMk cId="2122430467" sldId="296"/>
            <ac:spMk id="14" creationId="{CE109736-C057-F8A9-D331-A111AB331DAE}"/>
          </ac:spMkLst>
        </pc:spChg>
        <pc:spChg chg="mod">
          <ac:chgData name="Florent Ferizaj" userId="1ac95d67-9df5-47eb-b975-9543de642a3b" providerId="ADAL" clId="{14C92A01-973B-41D4-8BEC-84BE133B9246}" dt="2023-10-06T06:50:15.696" v="2529" actId="207"/>
          <ac:spMkLst>
            <pc:docMk/>
            <pc:sldMk cId="2122430467" sldId="296"/>
            <ac:spMk id="15" creationId="{29FDF9B7-A90F-6B8B-D618-5054C53EBE1E}"/>
          </ac:spMkLst>
        </pc:spChg>
        <pc:spChg chg="mod">
          <ac:chgData name="Florent Ferizaj" userId="1ac95d67-9df5-47eb-b975-9543de642a3b" providerId="ADAL" clId="{14C92A01-973B-41D4-8BEC-84BE133B9246}" dt="2023-10-06T06:50:15.696" v="2529" actId="207"/>
          <ac:spMkLst>
            <pc:docMk/>
            <pc:sldMk cId="2122430467" sldId="296"/>
            <ac:spMk id="16" creationId="{A6DE362C-2426-18C6-D661-34661C659317}"/>
          </ac:spMkLst>
        </pc:spChg>
        <pc:spChg chg="mod">
          <ac:chgData name="Florent Ferizaj" userId="1ac95d67-9df5-47eb-b975-9543de642a3b" providerId="ADAL" clId="{14C92A01-973B-41D4-8BEC-84BE133B9246}" dt="2023-10-06T06:50:15.696" v="2529" actId="207"/>
          <ac:spMkLst>
            <pc:docMk/>
            <pc:sldMk cId="2122430467" sldId="296"/>
            <ac:spMk id="17" creationId="{5E487C70-AC18-6021-3C5E-F109D07E3267}"/>
          </ac:spMkLst>
        </pc:spChg>
        <pc:spChg chg="mod">
          <ac:chgData name="Florent Ferizaj" userId="1ac95d67-9df5-47eb-b975-9543de642a3b" providerId="ADAL" clId="{14C92A01-973B-41D4-8BEC-84BE133B9246}" dt="2023-10-06T06:50:40.055" v="2531"/>
          <ac:spMkLst>
            <pc:docMk/>
            <pc:sldMk cId="2122430467" sldId="296"/>
            <ac:spMk id="19" creationId="{EA7B4F1A-E9BC-D268-5C92-B97B845DEFB0}"/>
          </ac:spMkLst>
        </pc:spChg>
        <pc:spChg chg="mod">
          <ac:chgData name="Florent Ferizaj" userId="1ac95d67-9df5-47eb-b975-9543de642a3b" providerId="ADAL" clId="{14C92A01-973B-41D4-8BEC-84BE133B9246}" dt="2023-10-06T06:50:40.055" v="2531"/>
          <ac:spMkLst>
            <pc:docMk/>
            <pc:sldMk cId="2122430467" sldId="296"/>
            <ac:spMk id="20" creationId="{4C40BBA7-403D-4E21-5768-89DAB04045C5}"/>
          </ac:spMkLst>
        </pc:spChg>
        <pc:spChg chg="mod">
          <ac:chgData name="Florent Ferizaj" userId="1ac95d67-9df5-47eb-b975-9543de642a3b" providerId="ADAL" clId="{14C92A01-973B-41D4-8BEC-84BE133B9246}" dt="2023-10-06T06:50:47.352" v="2537" actId="207"/>
          <ac:spMkLst>
            <pc:docMk/>
            <pc:sldMk cId="2122430467" sldId="296"/>
            <ac:spMk id="22" creationId="{53691CFC-B97B-7BB2-4A6F-4D6084A77EDE}"/>
          </ac:spMkLst>
        </pc:spChg>
        <pc:spChg chg="mod">
          <ac:chgData name="Florent Ferizaj" userId="1ac95d67-9df5-47eb-b975-9543de642a3b" providerId="ADAL" clId="{14C92A01-973B-41D4-8BEC-84BE133B9246}" dt="2023-10-06T06:50:47.352" v="2537" actId="207"/>
          <ac:spMkLst>
            <pc:docMk/>
            <pc:sldMk cId="2122430467" sldId="296"/>
            <ac:spMk id="23" creationId="{AAE709EF-A882-40B4-DCFF-3617DBF0B983}"/>
          </ac:spMkLst>
        </pc:spChg>
        <pc:grpChg chg="add del mod">
          <ac:chgData name="Florent Ferizaj" userId="1ac95d67-9df5-47eb-b975-9543de642a3b" providerId="ADAL" clId="{14C92A01-973B-41D4-8BEC-84BE133B9246}" dt="2023-10-06T06:50:12.225" v="2526" actId="478"/>
          <ac:grpSpMkLst>
            <pc:docMk/>
            <pc:sldMk cId="2122430467" sldId="296"/>
            <ac:grpSpMk id="2" creationId="{88B65774-DC2C-284E-DD8C-3620A5A1220B}"/>
          </ac:grpSpMkLst>
        </pc:grpChg>
        <pc:grpChg chg="add mod">
          <ac:chgData name="Florent Ferizaj" userId="1ac95d67-9df5-47eb-b975-9543de642a3b" providerId="ADAL" clId="{14C92A01-973B-41D4-8BEC-84BE133B9246}" dt="2023-10-05T07:14:25.719" v="1874" actId="1076"/>
          <ac:grpSpMkLst>
            <pc:docMk/>
            <pc:sldMk cId="2122430467" sldId="296"/>
            <ac:grpSpMk id="4" creationId="{75FAAE74-655D-DF6B-B2B6-49ECA767B138}"/>
          </ac:grpSpMkLst>
        </pc:grpChg>
        <pc:grpChg chg="add del mod">
          <ac:chgData name="Florent Ferizaj" userId="1ac95d67-9df5-47eb-b975-9543de642a3b" providerId="ADAL" clId="{14C92A01-973B-41D4-8BEC-84BE133B9246}" dt="2023-10-06T06:50:42.018" v="2533" actId="478"/>
          <ac:grpSpMkLst>
            <pc:docMk/>
            <pc:sldMk cId="2122430467" sldId="296"/>
            <ac:grpSpMk id="12" creationId="{B38E5101-72A0-5EE0-202C-ABBDC74049F9}"/>
          </ac:grpSpMkLst>
        </pc:grpChg>
        <pc:grpChg chg="add del mod">
          <ac:chgData name="Florent Ferizaj" userId="1ac95d67-9df5-47eb-b975-9543de642a3b" providerId="ADAL" clId="{14C92A01-973B-41D4-8BEC-84BE133B9246}" dt="2023-10-06T06:50:40.748" v="2532"/>
          <ac:grpSpMkLst>
            <pc:docMk/>
            <pc:sldMk cId="2122430467" sldId="296"/>
            <ac:grpSpMk id="18" creationId="{B2BC4DB6-DE9A-3E56-5944-FA182AC03B1C}"/>
          </ac:grpSpMkLst>
        </pc:grpChg>
        <pc:grpChg chg="add mod">
          <ac:chgData name="Florent Ferizaj" userId="1ac95d67-9df5-47eb-b975-9543de642a3b" providerId="ADAL" clId="{14C92A01-973B-41D4-8BEC-84BE133B9246}" dt="2023-10-06T06:51:18.544" v="2538" actId="1076"/>
          <ac:grpSpMkLst>
            <pc:docMk/>
            <pc:sldMk cId="2122430467" sldId="296"/>
            <ac:grpSpMk id="21" creationId="{CABC09C6-C3B7-0426-FF0C-27F455FBD01F}"/>
          </ac:grpSpMkLst>
        </pc:grpChg>
        <pc:picChg chg="add mod">
          <ac:chgData name="Florent Ferizaj" userId="1ac95d67-9df5-47eb-b975-9543de642a3b" providerId="ADAL" clId="{14C92A01-973B-41D4-8BEC-84BE133B9246}" dt="2023-10-05T07:36:17.267" v="2079"/>
          <ac:picMkLst>
            <pc:docMk/>
            <pc:sldMk cId="2122430467" sldId="296"/>
            <ac:picMk id="3" creationId="{2E9D0126-6EA6-51BB-2EDD-3679834565C9}"/>
          </ac:picMkLst>
        </pc:picChg>
        <pc:picChg chg="del">
          <ac:chgData name="Florent Ferizaj" userId="1ac95d67-9df5-47eb-b975-9543de642a3b" providerId="ADAL" clId="{14C92A01-973B-41D4-8BEC-84BE133B9246}" dt="2023-10-04T14:24:16.469" v="1133" actId="478"/>
          <ac:picMkLst>
            <pc:docMk/>
            <pc:sldMk cId="2122430467" sldId="296"/>
            <ac:picMk id="13" creationId="{47CEA505-8D0E-0AEC-B9BE-97DD4AA68A1B}"/>
          </ac:picMkLst>
        </pc:picChg>
      </pc:sldChg>
      <pc:sldChg chg="addSp delSp modSp mod">
        <pc:chgData name="Florent Ferizaj" userId="1ac95d67-9df5-47eb-b975-9543de642a3b" providerId="ADAL" clId="{14C92A01-973B-41D4-8BEC-84BE133B9246}" dt="2023-10-05T07:12:22.958" v="1820" actId="1076"/>
        <pc:sldMkLst>
          <pc:docMk/>
          <pc:sldMk cId="2318522847" sldId="297"/>
        </pc:sldMkLst>
        <pc:spChg chg="add mod">
          <ac:chgData name="Florent Ferizaj" userId="1ac95d67-9df5-47eb-b975-9543de642a3b" providerId="ADAL" clId="{14C92A01-973B-41D4-8BEC-84BE133B9246}" dt="2023-10-05T07:12:18.063" v="1819" actId="14100"/>
          <ac:spMkLst>
            <pc:docMk/>
            <pc:sldMk cId="2318522847" sldId="297"/>
            <ac:spMk id="2" creationId="{AB94D3C4-6388-6995-C558-AAA1CC7ECEA0}"/>
          </ac:spMkLst>
        </pc:spChg>
        <pc:spChg chg="add mod">
          <ac:chgData name="Florent Ferizaj" userId="1ac95d67-9df5-47eb-b975-9543de642a3b" providerId="ADAL" clId="{14C92A01-973B-41D4-8BEC-84BE133B9246}" dt="2023-10-05T07:12:22.958" v="1820" actId="1076"/>
          <ac:spMkLst>
            <pc:docMk/>
            <pc:sldMk cId="2318522847" sldId="297"/>
            <ac:spMk id="3" creationId="{B4093F5D-C559-9E79-8189-D1495A640D07}"/>
          </ac:spMkLst>
        </pc:spChg>
        <pc:spChg chg="del mod">
          <ac:chgData name="Florent Ferizaj" userId="1ac95d67-9df5-47eb-b975-9543de642a3b" providerId="ADAL" clId="{14C92A01-973B-41D4-8BEC-84BE133B9246}" dt="2023-10-04T13:58:52.977" v="1007" actId="478"/>
          <ac:spMkLst>
            <pc:docMk/>
            <pc:sldMk cId="2318522847" sldId="297"/>
            <ac:spMk id="5" creationId="{B7D1D24A-7D1D-D8A1-F76E-397EE93743AB}"/>
          </ac:spMkLst>
        </pc:spChg>
        <pc:spChg chg="del">
          <ac:chgData name="Florent Ferizaj" userId="1ac95d67-9df5-47eb-b975-9543de642a3b" providerId="ADAL" clId="{14C92A01-973B-41D4-8BEC-84BE133B9246}" dt="2023-10-04T14:26:52.941" v="1212" actId="478"/>
          <ac:spMkLst>
            <pc:docMk/>
            <pc:sldMk cId="2318522847" sldId="297"/>
            <ac:spMk id="6" creationId="{A6E66F53-6C39-40AF-8652-26328F0776F2}"/>
          </ac:spMkLst>
        </pc:spChg>
        <pc:spChg chg="mod">
          <ac:chgData name="Florent Ferizaj" userId="1ac95d67-9df5-47eb-b975-9543de642a3b" providerId="ADAL" clId="{14C92A01-973B-41D4-8BEC-84BE133B9246}" dt="2023-10-04T13:59:03.652" v="1014" actId="1076"/>
          <ac:spMkLst>
            <pc:docMk/>
            <pc:sldMk cId="2318522847" sldId="297"/>
            <ac:spMk id="12" creationId="{DF60F67D-F331-911A-EC9C-FDFBCB5585CF}"/>
          </ac:spMkLst>
        </pc:spChg>
        <pc:spChg chg="mod">
          <ac:chgData name="Florent Ferizaj" userId="1ac95d67-9df5-47eb-b975-9543de642a3b" providerId="ADAL" clId="{14C92A01-973B-41D4-8BEC-84BE133B9246}" dt="2023-10-04T13:59:01.543" v="1012" actId="1076"/>
          <ac:spMkLst>
            <pc:docMk/>
            <pc:sldMk cId="2318522847" sldId="297"/>
            <ac:spMk id="13" creationId="{0490D655-8D47-730F-DB36-7E946DA1DD14}"/>
          </ac:spMkLst>
        </pc:spChg>
        <pc:spChg chg="del mod">
          <ac:chgData name="Florent Ferizaj" userId="1ac95d67-9df5-47eb-b975-9543de642a3b" providerId="ADAL" clId="{14C92A01-973B-41D4-8BEC-84BE133B9246}" dt="2023-10-04T14:26:56.053" v="1213" actId="478"/>
          <ac:spMkLst>
            <pc:docMk/>
            <pc:sldMk cId="2318522847" sldId="297"/>
            <ac:spMk id="21" creationId="{294107FC-082D-4E89-8136-9588E6158E28}"/>
          </ac:spMkLst>
        </pc:spChg>
        <pc:grpChg chg="add del mod">
          <ac:chgData name="Florent Ferizaj" userId="1ac95d67-9df5-47eb-b975-9543de642a3b" providerId="ADAL" clId="{14C92A01-973B-41D4-8BEC-84BE133B9246}" dt="2023-10-04T14:26:52.385" v="1211" actId="478"/>
          <ac:grpSpMkLst>
            <pc:docMk/>
            <pc:sldMk cId="2318522847" sldId="297"/>
            <ac:grpSpMk id="11" creationId="{5C21DAB9-870A-E454-512E-3410A27032F9}"/>
          </ac:grpSpMkLst>
        </pc:grpChg>
        <pc:picChg chg="add mod">
          <ac:chgData name="Florent Ferizaj" userId="1ac95d67-9df5-47eb-b975-9543de642a3b" providerId="ADAL" clId="{14C92A01-973B-41D4-8BEC-84BE133B9246}" dt="2023-10-04T14:26:57.134" v="1214"/>
          <ac:picMkLst>
            <pc:docMk/>
            <pc:sldMk cId="2318522847" sldId="297"/>
            <ac:picMk id="4" creationId="{ECC52CF4-C816-69FB-BD86-ADB6C252542E}"/>
          </ac:picMkLst>
        </pc:picChg>
      </pc:sldChg>
      <pc:sldChg chg="del">
        <pc:chgData name="Florent Ferizaj" userId="1ac95d67-9df5-47eb-b975-9543de642a3b" providerId="ADAL" clId="{14C92A01-973B-41D4-8BEC-84BE133B9246}" dt="2023-10-04T14:35:17.052" v="1424" actId="47"/>
        <pc:sldMkLst>
          <pc:docMk/>
          <pc:sldMk cId="864371728" sldId="298"/>
        </pc:sldMkLst>
      </pc:sldChg>
      <pc:sldChg chg="del">
        <pc:chgData name="Florent Ferizaj" userId="1ac95d67-9df5-47eb-b975-9543de642a3b" providerId="ADAL" clId="{14C92A01-973B-41D4-8BEC-84BE133B9246}" dt="2023-10-04T14:35:15.355" v="1423" actId="47"/>
        <pc:sldMkLst>
          <pc:docMk/>
          <pc:sldMk cId="3743660825" sldId="299"/>
        </pc:sldMkLst>
      </pc:sldChg>
      <pc:sldChg chg="del">
        <pc:chgData name="Florent Ferizaj" userId="1ac95d67-9df5-47eb-b975-9543de642a3b" providerId="ADAL" clId="{14C92A01-973B-41D4-8BEC-84BE133B9246}" dt="2023-10-04T14:35:14.258" v="1422" actId="47"/>
        <pc:sldMkLst>
          <pc:docMk/>
          <pc:sldMk cId="69507226" sldId="300"/>
        </pc:sldMkLst>
      </pc:sldChg>
      <pc:sldChg chg="del">
        <pc:chgData name="Florent Ferizaj" userId="1ac95d67-9df5-47eb-b975-9543de642a3b" providerId="ADAL" clId="{14C92A01-973B-41D4-8BEC-84BE133B9246}" dt="2023-10-04T14:35:11.959" v="1420" actId="47"/>
        <pc:sldMkLst>
          <pc:docMk/>
          <pc:sldMk cId="1802899259" sldId="302"/>
        </pc:sldMkLst>
      </pc:sldChg>
      <pc:sldChg chg="del">
        <pc:chgData name="Florent Ferizaj" userId="1ac95d67-9df5-47eb-b975-9543de642a3b" providerId="ADAL" clId="{14C92A01-973B-41D4-8BEC-84BE133B9246}" dt="2023-10-04T14:35:09.612" v="1418" actId="47"/>
        <pc:sldMkLst>
          <pc:docMk/>
          <pc:sldMk cId="2181080807" sldId="303"/>
        </pc:sldMkLst>
      </pc:sldChg>
      <pc:sldChg chg="del">
        <pc:chgData name="Florent Ferizaj" userId="1ac95d67-9df5-47eb-b975-9543de642a3b" providerId="ADAL" clId="{14C92A01-973B-41D4-8BEC-84BE133B9246}" dt="2023-10-04T14:35:10.743" v="1419" actId="47"/>
        <pc:sldMkLst>
          <pc:docMk/>
          <pc:sldMk cId="3507659359" sldId="304"/>
        </pc:sldMkLst>
      </pc:sldChg>
      <pc:sldChg chg="del">
        <pc:chgData name="Florent Ferizaj" userId="1ac95d67-9df5-47eb-b975-9543de642a3b" providerId="ADAL" clId="{14C92A01-973B-41D4-8BEC-84BE133B9246}" dt="2023-10-04T14:35:08.890" v="1417" actId="47"/>
        <pc:sldMkLst>
          <pc:docMk/>
          <pc:sldMk cId="836400106" sldId="305"/>
        </pc:sldMkLst>
      </pc:sldChg>
      <pc:sldChg chg="del">
        <pc:chgData name="Florent Ferizaj" userId="1ac95d67-9df5-47eb-b975-9543de642a3b" providerId="ADAL" clId="{14C92A01-973B-41D4-8BEC-84BE133B9246}" dt="2023-10-04T14:35:08.097" v="1416" actId="47"/>
        <pc:sldMkLst>
          <pc:docMk/>
          <pc:sldMk cId="3601143944" sldId="306"/>
        </pc:sldMkLst>
      </pc:sldChg>
      <pc:sldChg chg="del">
        <pc:chgData name="Florent Ferizaj" userId="1ac95d67-9df5-47eb-b975-9543de642a3b" providerId="ADAL" clId="{14C92A01-973B-41D4-8BEC-84BE133B9246}" dt="2023-10-04T14:35:19.445" v="1425" actId="47"/>
        <pc:sldMkLst>
          <pc:docMk/>
          <pc:sldMk cId="4283419930" sldId="925"/>
        </pc:sldMkLst>
      </pc:sldChg>
      <pc:sldChg chg="del">
        <pc:chgData name="Florent Ferizaj" userId="1ac95d67-9df5-47eb-b975-9543de642a3b" providerId="ADAL" clId="{14C92A01-973B-41D4-8BEC-84BE133B9246}" dt="2023-10-04T14:35:06.570" v="1415" actId="47"/>
        <pc:sldMkLst>
          <pc:docMk/>
          <pc:sldMk cId="1156208337" sldId="926"/>
        </pc:sldMkLst>
      </pc:sldChg>
      <pc:sldChg chg="del">
        <pc:chgData name="Florent Ferizaj" userId="1ac95d67-9df5-47eb-b975-9543de642a3b" providerId="ADAL" clId="{14C92A01-973B-41D4-8BEC-84BE133B9246}" dt="2023-10-04T14:35:13.331" v="1421" actId="47"/>
        <pc:sldMkLst>
          <pc:docMk/>
          <pc:sldMk cId="2006377789" sldId="927"/>
        </pc:sldMkLst>
      </pc:sldChg>
      <pc:sldChg chg="addSp delSp modSp new mod">
        <pc:chgData name="Florent Ferizaj" userId="1ac95d67-9df5-47eb-b975-9543de642a3b" providerId="ADAL" clId="{14C92A01-973B-41D4-8BEC-84BE133B9246}" dt="2023-10-05T06:54:36.416" v="1531" actId="1076"/>
        <pc:sldMkLst>
          <pc:docMk/>
          <pc:sldMk cId="670327803" sldId="928"/>
        </pc:sldMkLst>
        <pc:spChg chg="del">
          <ac:chgData name="Florent Ferizaj" userId="1ac95d67-9df5-47eb-b975-9543de642a3b" providerId="ADAL" clId="{14C92A01-973B-41D4-8BEC-84BE133B9246}" dt="2023-10-04T13:42:05.945" v="548" actId="478"/>
          <ac:spMkLst>
            <pc:docMk/>
            <pc:sldMk cId="670327803" sldId="928"/>
            <ac:spMk id="2" creationId="{16E45212-B93A-BA51-6972-A973A5F64AA0}"/>
          </ac:spMkLst>
        </pc:spChg>
        <pc:spChg chg="add mod">
          <ac:chgData name="Florent Ferizaj" userId="1ac95d67-9df5-47eb-b975-9543de642a3b" providerId="ADAL" clId="{14C92A01-973B-41D4-8BEC-84BE133B9246}" dt="2023-10-04T13:42:58.543" v="590" actId="207"/>
          <ac:spMkLst>
            <pc:docMk/>
            <pc:sldMk cId="670327803" sldId="928"/>
            <ac:spMk id="4" creationId="{BBA8E5C0-3CF2-E0D2-6B8D-2A2D2519F09E}"/>
          </ac:spMkLst>
        </pc:spChg>
        <pc:picChg chg="add mod">
          <ac:chgData name="Florent Ferizaj" userId="1ac95d67-9df5-47eb-b975-9543de642a3b" providerId="ADAL" clId="{14C92A01-973B-41D4-8BEC-84BE133B9246}" dt="2023-10-05T06:54:36.416" v="1531" actId="1076"/>
          <ac:picMkLst>
            <pc:docMk/>
            <pc:sldMk cId="670327803" sldId="928"/>
            <ac:picMk id="3" creationId="{5BC834F8-5932-2765-930D-AD1CBF4FD072}"/>
          </ac:picMkLst>
        </pc:picChg>
      </pc:sldChg>
      <pc:sldChg chg="new del">
        <pc:chgData name="Florent Ferizaj" userId="1ac95d67-9df5-47eb-b975-9543de642a3b" providerId="ADAL" clId="{14C92A01-973B-41D4-8BEC-84BE133B9246}" dt="2023-10-04T13:41:55.082" v="546" actId="680"/>
        <pc:sldMkLst>
          <pc:docMk/>
          <pc:sldMk cId="1807426884" sldId="928"/>
        </pc:sldMkLst>
      </pc:sldChg>
      <pc:sldMasterChg chg="delSldLayout">
        <pc:chgData name="Florent Ferizaj" userId="1ac95d67-9df5-47eb-b975-9543de642a3b" providerId="ADAL" clId="{14C92A01-973B-41D4-8BEC-84BE133B9246}" dt="2023-10-04T14:35:19.445" v="1425" actId="47"/>
        <pc:sldMasterMkLst>
          <pc:docMk/>
          <pc:sldMasterMk cId="576128267" sldId="2147483648"/>
        </pc:sldMasterMkLst>
        <pc:sldLayoutChg chg="del">
          <pc:chgData name="Florent Ferizaj" userId="1ac95d67-9df5-47eb-b975-9543de642a3b" providerId="ADAL" clId="{14C92A01-973B-41D4-8BEC-84BE133B9246}" dt="2023-10-04T14:35:19.445" v="1425" actId="47"/>
          <pc:sldLayoutMkLst>
            <pc:docMk/>
            <pc:sldMasterMk cId="576128267" sldId="2147483648"/>
            <pc:sldLayoutMk cId="397624856" sldId="2147483677"/>
          </pc:sldLayoutMkLst>
        </pc:sldLayoutChg>
      </pc:sldMasterChg>
    </pc:docChg>
  </pc:docChgLst>
  <pc:docChgLst>
    <pc:chgData name="Florent Ferizaj" userId="1ac95d67-9df5-47eb-b975-9543de642a3b" providerId="ADAL" clId="{2035A8FE-03FB-427D-B8B6-71890AF85A3C}"/>
    <pc:docChg chg="undo custSel addSld delSld modSld sldOrd modSection">
      <pc:chgData name="Florent Ferizaj" userId="1ac95d67-9df5-47eb-b975-9543de642a3b" providerId="ADAL" clId="{2035A8FE-03FB-427D-B8B6-71890AF85A3C}" dt="2023-10-31T10:20:20.888" v="2462" actId="20577"/>
      <pc:docMkLst>
        <pc:docMk/>
      </pc:docMkLst>
      <pc:sldChg chg="addSp delSp modSp mod">
        <pc:chgData name="Florent Ferizaj" userId="1ac95d67-9df5-47eb-b975-9543de642a3b" providerId="ADAL" clId="{2035A8FE-03FB-427D-B8B6-71890AF85A3C}" dt="2023-10-25T12:37:38.528" v="2438" actId="20577"/>
        <pc:sldMkLst>
          <pc:docMk/>
          <pc:sldMk cId="876605229" sldId="256"/>
        </pc:sldMkLst>
        <pc:spChg chg="add del mod">
          <ac:chgData name="Florent Ferizaj" userId="1ac95d67-9df5-47eb-b975-9543de642a3b" providerId="ADAL" clId="{2035A8FE-03FB-427D-B8B6-71890AF85A3C}" dt="2023-10-25T11:47:15.941" v="2264" actId="478"/>
          <ac:spMkLst>
            <pc:docMk/>
            <pc:sldMk cId="876605229" sldId="256"/>
            <ac:spMk id="5" creationId="{B7615B71-B840-5B98-5C78-1AA8826B359B}"/>
          </ac:spMkLst>
        </pc:spChg>
        <pc:spChg chg="mod">
          <ac:chgData name="Florent Ferizaj" userId="1ac95d67-9df5-47eb-b975-9543de642a3b" providerId="ADAL" clId="{2035A8FE-03FB-427D-B8B6-71890AF85A3C}" dt="2023-10-25T12:37:38.528" v="2438" actId="20577"/>
          <ac:spMkLst>
            <pc:docMk/>
            <pc:sldMk cId="876605229" sldId="256"/>
            <ac:spMk id="6" creationId="{F1BA98F5-FB0E-483C-9755-9C0CEB604EDD}"/>
          </ac:spMkLst>
        </pc:spChg>
        <pc:spChg chg="mod">
          <ac:chgData name="Florent Ferizaj" userId="1ac95d67-9df5-47eb-b975-9543de642a3b" providerId="ADAL" clId="{2035A8FE-03FB-427D-B8B6-71890AF85A3C}" dt="2023-10-25T11:50:02.675" v="2313" actId="207"/>
          <ac:spMkLst>
            <pc:docMk/>
            <pc:sldMk cId="876605229" sldId="256"/>
            <ac:spMk id="7" creationId="{EB869A89-72E8-44EB-A86F-C473D79061CA}"/>
          </ac:spMkLst>
        </pc:spChg>
        <pc:spChg chg="add mod">
          <ac:chgData name="Florent Ferizaj" userId="1ac95d67-9df5-47eb-b975-9543de642a3b" providerId="ADAL" clId="{2035A8FE-03FB-427D-B8B6-71890AF85A3C}" dt="2023-10-25T11:47:28.345" v="2265"/>
          <ac:spMkLst>
            <pc:docMk/>
            <pc:sldMk cId="876605229" sldId="256"/>
            <ac:spMk id="9" creationId="{62090132-2DF2-0B2C-7CB8-88101A391DFD}"/>
          </ac:spMkLst>
        </pc:spChg>
        <pc:spChg chg="add mod">
          <ac:chgData name="Florent Ferizaj" userId="1ac95d67-9df5-47eb-b975-9543de642a3b" providerId="ADAL" clId="{2035A8FE-03FB-427D-B8B6-71890AF85A3C}" dt="2023-10-25T11:47:28.345" v="2265"/>
          <ac:spMkLst>
            <pc:docMk/>
            <pc:sldMk cId="876605229" sldId="256"/>
            <ac:spMk id="10" creationId="{A1113D73-8A63-3100-997A-A912B6E8A92E}"/>
          </ac:spMkLst>
        </pc:spChg>
        <pc:spChg chg="add mod ord">
          <ac:chgData name="Florent Ferizaj" userId="1ac95d67-9df5-47eb-b975-9543de642a3b" providerId="ADAL" clId="{2035A8FE-03FB-427D-B8B6-71890AF85A3C}" dt="2023-10-25T12:37:32.729" v="2436" actId="14100"/>
          <ac:spMkLst>
            <pc:docMk/>
            <pc:sldMk cId="876605229" sldId="256"/>
            <ac:spMk id="11" creationId="{FD6B852F-A08D-F600-B495-82FE565A49C9}"/>
          </ac:spMkLst>
        </pc:spChg>
        <pc:picChg chg="add mod ord">
          <ac:chgData name="Florent Ferizaj" userId="1ac95d67-9df5-47eb-b975-9543de642a3b" providerId="ADAL" clId="{2035A8FE-03FB-427D-B8B6-71890AF85A3C}" dt="2023-10-25T12:37:22.513" v="2434" actId="1076"/>
          <ac:picMkLst>
            <pc:docMk/>
            <pc:sldMk cId="876605229" sldId="256"/>
            <ac:picMk id="3" creationId="{231AC8F4-0926-FBB7-9544-174675447CF7}"/>
          </ac:picMkLst>
        </pc:picChg>
        <pc:picChg chg="add mod">
          <ac:chgData name="Florent Ferizaj" userId="1ac95d67-9df5-47eb-b975-9543de642a3b" providerId="ADAL" clId="{2035A8FE-03FB-427D-B8B6-71890AF85A3C}" dt="2023-10-25T11:47:28.345" v="2265"/>
          <ac:picMkLst>
            <pc:docMk/>
            <pc:sldMk cId="876605229" sldId="256"/>
            <ac:picMk id="8" creationId="{A435C986-75C0-030C-8C73-DF2745A3ED3C}"/>
          </ac:picMkLst>
        </pc:picChg>
        <pc:picChg chg="del mod">
          <ac:chgData name="Florent Ferizaj" userId="1ac95d67-9df5-47eb-b975-9543de642a3b" providerId="ADAL" clId="{2035A8FE-03FB-427D-B8B6-71890AF85A3C}" dt="2023-10-25T11:47:14.701" v="2263" actId="478"/>
          <ac:picMkLst>
            <pc:docMk/>
            <pc:sldMk cId="876605229" sldId="256"/>
            <ac:picMk id="13" creationId="{0F702FEF-8991-46FB-3E41-A2BA3965F9A8}"/>
          </ac:picMkLst>
        </pc:picChg>
      </pc:sldChg>
      <pc:sldChg chg="modSp mod">
        <pc:chgData name="Florent Ferizaj" userId="1ac95d67-9df5-47eb-b975-9543de642a3b" providerId="ADAL" clId="{2035A8FE-03FB-427D-B8B6-71890AF85A3C}" dt="2023-10-25T12:12:53.708" v="2345" actId="14826"/>
        <pc:sldMkLst>
          <pc:docMk/>
          <pc:sldMk cId="1913331388" sldId="258"/>
        </pc:sldMkLst>
        <pc:spChg chg="mod">
          <ac:chgData name="Florent Ferizaj" userId="1ac95d67-9df5-47eb-b975-9543de642a3b" providerId="ADAL" clId="{2035A8FE-03FB-427D-B8B6-71890AF85A3C}" dt="2023-10-25T12:07:26.649" v="2344" actId="1076"/>
          <ac:spMkLst>
            <pc:docMk/>
            <pc:sldMk cId="1913331388" sldId="258"/>
            <ac:spMk id="3" creationId="{C753465B-E1CD-B14B-8447-93B1F189E202}"/>
          </ac:spMkLst>
        </pc:spChg>
        <pc:spChg chg="mod">
          <ac:chgData name="Florent Ferizaj" userId="1ac95d67-9df5-47eb-b975-9543de642a3b" providerId="ADAL" clId="{2035A8FE-03FB-427D-B8B6-71890AF85A3C}" dt="2023-10-25T12:07:26.649" v="2344" actId="1076"/>
          <ac:spMkLst>
            <pc:docMk/>
            <pc:sldMk cId="1913331388" sldId="258"/>
            <ac:spMk id="4" creationId="{4C4ED167-212B-4251-BB15-9710397D8A68}"/>
          </ac:spMkLst>
        </pc:spChg>
        <pc:spChg chg="mod">
          <ac:chgData name="Florent Ferizaj" userId="1ac95d67-9df5-47eb-b975-9543de642a3b" providerId="ADAL" clId="{2035A8FE-03FB-427D-B8B6-71890AF85A3C}" dt="2023-10-25T12:07:26.649" v="2344" actId="1076"/>
          <ac:spMkLst>
            <pc:docMk/>
            <pc:sldMk cId="1913331388" sldId="258"/>
            <ac:spMk id="5" creationId="{C10FE821-FC0E-8391-B1E9-EFC8B6B16F8D}"/>
          </ac:spMkLst>
        </pc:spChg>
        <pc:spChg chg="mod">
          <ac:chgData name="Florent Ferizaj" userId="1ac95d67-9df5-47eb-b975-9543de642a3b" providerId="ADAL" clId="{2035A8FE-03FB-427D-B8B6-71890AF85A3C}" dt="2023-10-25T12:07:26.649" v="2344" actId="1076"/>
          <ac:spMkLst>
            <pc:docMk/>
            <pc:sldMk cId="1913331388" sldId="258"/>
            <ac:spMk id="9" creationId="{0BBF499F-529D-01C7-0168-B6659D856141}"/>
          </ac:spMkLst>
        </pc:spChg>
        <pc:spChg chg="mod">
          <ac:chgData name="Florent Ferizaj" userId="1ac95d67-9df5-47eb-b975-9543de642a3b" providerId="ADAL" clId="{2035A8FE-03FB-427D-B8B6-71890AF85A3C}" dt="2023-10-25T12:07:26.649" v="2344" actId="1076"/>
          <ac:spMkLst>
            <pc:docMk/>
            <pc:sldMk cId="1913331388" sldId="258"/>
            <ac:spMk id="12" creationId="{B1AA5B3D-189F-469A-AF1F-3E6C412EA334}"/>
          </ac:spMkLst>
        </pc:spChg>
        <pc:spChg chg="mod">
          <ac:chgData name="Florent Ferizaj" userId="1ac95d67-9df5-47eb-b975-9543de642a3b" providerId="ADAL" clId="{2035A8FE-03FB-427D-B8B6-71890AF85A3C}" dt="2023-10-25T12:07:26.649" v="2344" actId="1076"/>
          <ac:spMkLst>
            <pc:docMk/>
            <pc:sldMk cId="1913331388" sldId="258"/>
            <ac:spMk id="13" creationId="{443F6020-283E-DBAB-9214-BF637835C7C9}"/>
          </ac:spMkLst>
        </pc:spChg>
        <pc:spChg chg="mod">
          <ac:chgData name="Florent Ferizaj" userId="1ac95d67-9df5-47eb-b975-9543de642a3b" providerId="ADAL" clId="{2035A8FE-03FB-427D-B8B6-71890AF85A3C}" dt="2023-10-25T12:07:26.649" v="2344" actId="1076"/>
          <ac:spMkLst>
            <pc:docMk/>
            <pc:sldMk cId="1913331388" sldId="258"/>
            <ac:spMk id="14" creationId="{802D7617-9E21-47A6-A249-A8B9100923DA}"/>
          </ac:spMkLst>
        </pc:spChg>
        <pc:spChg chg="mod">
          <ac:chgData name="Florent Ferizaj" userId="1ac95d67-9df5-47eb-b975-9543de642a3b" providerId="ADAL" clId="{2035A8FE-03FB-427D-B8B6-71890AF85A3C}" dt="2023-10-25T12:07:26.649" v="2344" actId="1076"/>
          <ac:spMkLst>
            <pc:docMk/>
            <pc:sldMk cId="1913331388" sldId="258"/>
            <ac:spMk id="18" creationId="{8B87F45C-AD12-41DC-ACE2-69886FBF392D}"/>
          </ac:spMkLst>
        </pc:spChg>
        <pc:spChg chg="mod">
          <ac:chgData name="Florent Ferizaj" userId="1ac95d67-9df5-47eb-b975-9543de642a3b" providerId="ADAL" clId="{2035A8FE-03FB-427D-B8B6-71890AF85A3C}" dt="2023-10-25T12:07:26.649" v="2344" actId="1076"/>
          <ac:spMkLst>
            <pc:docMk/>
            <pc:sldMk cId="1913331388" sldId="258"/>
            <ac:spMk id="20" creationId="{233F71C4-8B1A-47D4-8697-654EFBD5F2DB}"/>
          </ac:spMkLst>
        </pc:spChg>
        <pc:picChg chg="mod">
          <ac:chgData name="Florent Ferizaj" userId="1ac95d67-9df5-47eb-b975-9543de642a3b" providerId="ADAL" clId="{2035A8FE-03FB-427D-B8B6-71890AF85A3C}" dt="2023-10-25T12:12:53.708" v="2345" actId="14826"/>
          <ac:picMkLst>
            <pc:docMk/>
            <pc:sldMk cId="1913331388" sldId="258"/>
            <ac:picMk id="7" creationId="{31746AB0-DB8F-BCCA-7504-E45201A8FD33}"/>
          </ac:picMkLst>
        </pc:picChg>
      </pc:sldChg>
      <pc:sldChg chg="modSp mod">
        <pc:chgData name="Florent Ferizaj" userId="1ac95d67-9df5-47eb-b975-9543de642a3b" providerId="ADAL" clId="{2035A8FE-03FB-427D-B8B6-71890AF85A3C}" dt="2023-10-23T07:20:35.988" v="99" actId="14100"/>
        <pc:sldMkLst>
          <pc:docMk/>
          <pc:sldMk cId="2112361714" sldId="259"/>
        </pc:sldMkLst>
        <pc:spChg chg="mod">
          <ac:chgData name="Florent Ferizaj" userId="1ac95d67-9df5-47eb-b975-9543de642a3b" providerId="ADAL" clId="{2035A8FE-03FB-427D-B8B6-71890AF85A3C}" dt="2023-10-23T07:20:35.988" v="99" actId="14100"/>
          <ac:spMkLst>
            <pc:docMk/>
            <pc:sldMk cId="2112361714" sldId="259"/>
            <ac:spMk id="10" creationId="{C3DBC9E3-84A4-4CAE-8363-CC0A0E38B3BE}"/>
          </ac:spMkLst>
        </pc:spChg>
        <pc:spChg chg="mod">
          <ac:chgData name="Florent Ferizaj" userId="1ac95d67-9df5-47eb-b975-9543de642a3b" providerId="ADAL" clId="{2035A8FE-03FB-427D-B8B6-71890AF85A3C}" dt="2023-10-23T07:20:32.981" v="98" actId="14100"/>
          <ac:spMkLst>
            <pc:docMk/>
            <pc:sldMk cId="2112361714" sldId="259"/>
            <ac:spMk id="19" creationId="{6D59E5B1-17F5-45E4-B46B-A681D9434084}"/>
          </ac:spMkLst>
        </pc:spChg>
      </pc:sldChg>
      <pc:sldChg chg="addSp delSp modSp mod modAnim">
        <pc:chgData name="Florent Ferizaj" userId="1ac95d67-9df5-47eb-b975-9543de642a3b" providerId="ADAL" clId="{2035A8FE-03FB-427D-B8B6-71890AF85A3C}" dt="2023-10-25T12:36:47.341" v="2424" actId="478"/>
        <pc:sldMkLst>
          <pc:docMk/>
          <pc:sldMk cId="1895001975" sldId="282"/>
        </pc:sldMkLst>
        <pc:spChg chg="mod">
          <ac:chgData name="Florent Ferizaj" userId="1ac95d67-9df5-47eb-b975-9543de642a3b" providerId="ADAL" clId="{2035A8FE-03FB-427D-B8B6-71890AF85A3C}" dt="2023-10-25T11:43:36.681" v="2259" actId="1076"/>
          <ac:spMkLst>
            <pc:docMk/>
            <pc:sldMk cId="1895001975" sldId="282"/>
            <ac:spMk id="3" creationId="{6AF03383-76C7-2EF1-BD6B-B24DEBC9C36F}"/>
          </ac:spMkLst>
        </pc:spChg>
        <pc:spChg chg="add del mod">
          <ac:chgData name="Florent Ferizaj" userId="1ac95d67-9df5-47eb-b975-9543de642a3b" providerId="ADAL" clId="{2035A8FE-03FB-427D-B8B6-71890AF85A3C}" dt="2023-10-25T11:41:53.371" v="2232" actId="478"/>
          <ac:spMkLst>
            <pc:docMk/>
            <pc:sldMk cId="1895001975" sldId="282"/>
            <ac:spMk id="5" creationId="{289798F7-6EFB-FCB9-2EF8-556BF2DBBD03}"/>
          </ac:spMkLst>
        </pc:spChg>
        <pc:spChg chg="mod">
          <ac:chgData name="Florent Ferizaj" userId="1ac95d67-9df5-47eb-b975-9543de642a3b" providerId="ADAL" clId="{2035A8FE-03FB-427D-B8B6-71890AF85A3C}" dt="2023-10-25T12:36:43.007" v="2421" actId="1076"/>
          <ac:spMkLst>
            <pc:docMk/>
            <pc:sldMk cId="1895001975" sldId="282"/>
            <ac:spMk id="8" creationId="{615CC12E-2D07-4679-B886-149E11CD98B0}"/>
          </ac:spMkLst>
        </pc:spChg>
        <pc:spChg chg="add del mod ord">
          <ac:chgData name="Florent Ferizaj" userId="1ac95d67-9df5-47eb-b975-9543de642a3b" providerId="ADAL" clId="{2035A8FE-03FB-427D-B8B6-71890AF85A3C}" dt="2023-10-25T12:36:37.312" v="2419" actId="478"/>
          <ac:spMkLst>
            <pc:docMk/>
            <pc:sldMk cId="1895001975" sldId="282"/>
            <ac:spMk id="9" creationId="{50B2057B-9789-BD8E-17AD-7FE9D5DE6F0D}"/>
          </ac:spMkLst>
        </pc:spChg>
        <pc:spChg chg="mod">
          <ac:chgData name="Florent Ferizaj" userId="1ac95d67-9df5-47eb-b975-9543de642a3b" providerId="ADAL" clId="{2035A8FE-03FB-427D-B8B6-71890AF85A3C}" dt="2023-10-25T11:43:36.681" v="2259" actId="1076"/>
          <ac:spMkLst>
            <pc:docMk/>
            <pc:sldMk cId="1895001975" sldId="282"/>
            <ac:spMk id="11" creationId="{4A467C9C-1D5E-4786-A12A-4E3536C9D67E}"/>
          </ac:spMkLst>
        </pc:spChg>
        <pc:spChg chg="add del mod">
          <ac:chgData name="Florent Ferizaj" userId="1ac95d67-9df5-47eb-b975-9543de642a3b" providerId="ADAL" clId="{2035A8FE-03FB-427D-B8B6-71890AF85A3C}" dt="2023-10-25T12:36:46.134" v="2423" actId="478"/>
          <ac:spMkLst>
            <pc:docMk/>
            <pc:sldMk cId="1895001975" sldId="282"/>
            <ac:spMk id="12" creationId="{DB2546C1-F143-3F47-0A1D-C127AF4D0D89}"/>
          </ac:spMkLst>
        </pc:spChg>
        <pc:spChg chg="add del mod">
          <ac:chgData name="Florent Ferizaj" userId="1ac95d67-9df5-47eb-b975-9543de642a3b" providerId="ADAL" clId="{2035A8FE-03FB-427D-B8B6-71890AF85A3C}" dt="2023-10-25T12:36:47.341" v="2424" actId="478"/>
          <ac:spMkLst>
            <pc:docMk/>
            <pc:sldMk cId="1895001975" sldId="282"/>
            <ac:spMk id="13" creationId="{28746A4D-CA89-B897-C55E-68AE1D6CA9B3}"/>
          </ac:spMkLst>
        </pc:spChg>
        <pc:grpChg chg="mod">
          <ac:chgData name="Florent Ferizaj" userId="1ac95d67-9df5-47eb-b975-9543de642a3b" providerId="ADAL" clId="{2035A8FE-03FB-427D-B8B6-71890AF85A3C}" dt="2023-10-25T11:43:36.681" v="2259" actId="1076"/>
          <ac:grpSpMkLst>
            <pc:docMk/>
            <pc:sldMk cId="1895001975" sldId="282"/>
            <ac:grpSpMk id="4" creationId="{4F3B8ACE-DBC2-413A-115D-6568ABA08DA2}"/>
          </ac:grpSpMkLst>
        </pc:grpChg>
        <pc:grpChg chg="add mod">
          <ac:chgData name="Florent Ferizaj" userId="1ac95d67-9df5-47eb-b975-9543de642a3b" providerId="ADAL" clId="{2035A8FE-03FB-427D-B8B6-71890AF85A3C}" dt="2023-10-25T11:43:36.681" v="2259" actId="1076"/>
          <ac:grpSpMkLst>
            <pc:docMk/>
            <pc:sldMk cId="1895001975" sldId="282"/>
            <ac:grpSpMk id="6" creationId="{9B243A31-7022-A2CE-F603-E286E2B01F59}"/>
          </ac:grpSpMkLst>
        </pc:grpChg>
        <pc:picChg chg="del">
          <ac:chgData name="Florent Ferizaj" userId="1ac95d67-9df5-47eb-b975-9543de642a3b" providerId="ADAL" clId="{2035A8FE-03FB-427D-B8B6-71890AF85A3C}" dt="2023-10-25T11:41:51.944" v="2231" actId="478"/>
          <ac:picMkLst>
            <pc:docMk/>
            <pc:sldMk cId="1895001975" sldId="282"/>
            <ac:picMk id="7" creationId="{0E24C124-4AF8-F0A1-7B76-C1AB9971D52F}"/>
          </ac:picMkLst>
        </pc:picChg>
        <pc:picChg chg="add del mod">
          <ac:chgData name="Florent Ferizaj" userId="1ac95d67-9df5-47eb-b975-9543de642a3b" providerId="ADAL" clId="{2035A8FE-03FB-427D-B8B6-71890AF85A3C}" dt="2023-10-25T12:36:44.262" v="2422" actId="478"/>
          <ac:picMkLst>
            <pc:docMk/>
            <pc:sldMk cId="1895001975" sldId="282"/>
            <ac:picMk id="10" creationId="{B38B1C87-B919-13C8-DFD7-CFDD9BB6B122}"/>
          </ac:picMkLst>
        </pc:picChg>
        <pc:picChg chg="mod">
          <ac:chgData name="Florent Ferizaj" userId="1ac95d67-9df5-47eb-b975-9543de642a3b" providerId="ADAL" clId="{2035A8FE-03FB-427D-B8B6-71890AF85A3C}" dt="2023-10-25T11:43:36.681" v="2259" actId="1076"/>
          <ac:picMkLst>
            <pc:docMk/>
            <pc:sldMk cId="1895001975" sldId="282"/>
            <ac:picMk id="31" creationId="{7E67A423-3F4B-D9FC-92E9-A6FA2145BB46}"/>
          </ac:picMkLst>
        </pc:picChg>
        <pc:picChg chg="mod">
          <ac:chgData name="Florent Ferizaj" userId="1ac95d67-9df5-47eb-b975-9543de642a3b" providerId="ADAL" clId="{2035A8FE-03FB-427D-B8B6-71890AF85A3C}" dt="2023-10-25T11:43:36.681" v="2259" actId="1076"/>
          <ac:picMkLst>
            <pc:docMk/>
            <pc:sldMk cId="1895001975" sldId="282"/>
            <ac:picMk id="33" creationId="{4580935F-AC8F-08FB-852A-06AE021A21FF}"/>
          </ac:picMkLst>
        </pc:picChg>
      </pc:sldChg>
      <pc:sldChg chg="addSp delSp modSp mod">
        <pc:chgData name="Florent Ferizaj" userId="1ac95d67-9df5-47eb-b975-9543de642a3b" providerId="ADAL" clId="{2035A8FE-03FB-427D-B8B6-71890AF85A3C}" dt="2023-10-25T12:32:44.263" v="2385" actId="14100"/>
        <pc:sldMkLst>
          <pc:docMk/>
          <pc:sldMk cId="3169204318" sldId="287"/>
        </pc:sldMkLst>
        <pc:spChg chg="add del">
          <ac:chgData name="Florent Ferizaj" userId="1ac95d67-9df5-47eb-b975-9543de642a3b" providerId="ADAL" clId="{2035A8FE-03FB-427D-B8B6-71890AF85A3C}" dt="2023-10-25T12:31:58.162" v="2372" actId="478"/>
          <ac:spMkLst>
            <pc:docMk/>
            <pc:sldMk cId="3169204318" sldId="287"/>
            <ac:spMk id="2" creationId="{9A9D3D91-3BE2-81D4-88BA-4B79032F8C2B}"/>
          </ac:spMkLst>
        </pc:spChg>
        <pc:spChg chg="add mod ord">
          <ac:chgData name="Florent Ferizaj" userId="1ac95d67-9df5-47eb-b975-9543de642a3b" providerId="ADAL" clId="{2035A8FE-03FB-427D-B8B6-71890AF85A3C}" dt="2023-10-25T12:32:34.525" v="2383" actId="167"/>
          <ac:spMkLst>
            <pc:docMk/>
            <pc:sldMk cId="3169204318" sldId="287"/>
            <ac:spMk id="4" creationId="{5E3CBDA2-7255-1B92-403F-E3EFF62B66D0}"/>
          </ac:spMkLst>
        </pc:spChg>
        <pc:spChg chg="mod">
          <ac:chgData name="Florent Ferizaj" userId="1ac95d67-9df5-47eb-b975-9543de642a3b" providerId="ADAL" clId="{2035A8FE-03FB-427D-B8B6-71890AF85A3C}" dt="2023-10-25T12:32:44.263" v="2385" actId="14100"/>
          <ac:spMkLst>
            <pc:docMk/>
            <pc:sldMk cId="3169204318" sldId="287"/>
            <ac:spMk id="8" creationId="{9A48E439-CFC8-693F-CF31-D6D5F01FC8EC}"/>
          </ac:spMkLst>
        </pc:spChg>
        <pc:spChg chg="mod">
          <ac:chgData name="Florent Ferizaj" userId="1ac95d67-9df5-47eb-b975-9543de642a3b" providerId="ADAL" clId="{2035A8FE-03FB-427D-B8B6-71890AF85A3C}" dt="2023-10-25T12:32:13.376" v="2377" actId="1076"/>
          <ac:spMkLst>
            <pc:docMk/>
            <pc:sldMk cId="3169204318" sldId="287"/>
            <ac:spMk id="12" creationId="{34DC3C6D-6FD6-43F5-B034-C60170C1DD4D}"/>
          </ac:spMkLst>
        </pc:spChg>
        <pc:picChg chg="mod ord">
          <ac:chgData name="Florent Ferizaj" userId="1ac95d67-9df5-47eb-b975-9543de642a3b" providerId="ADAL" clId="{2035A8FE-03FB-427D-B8B6-71890AF85A3C}" dt="2023-10-25T12:32:34.525" v="2383" actId="167"/>
          <ac:picMkLst>
            <pc:docMk/>
            <pc:sldMk cId="3169204318" sldId="287"/>
            <ac:picMk id="6" creationId="{DE3D721E-13B4-0304-3648-D240C122CE2B}"/>
          </ac:picMkLst>
        </pc:picChg>
      </pc:sldChg>
      <pc:sldChg chg="addSp delSp modSp mod">
        <pc:chgData name="Florent Ferizaj" userId="1ac95d67-9df5-47eb-b975-9543de642a3b" providerId="ADAL" clId="{2035A8FE-03FB-427D-B8B6-71890AF85A3C}" dt="2023-10-23T07:49:34.631" v="247" actId="14100"/>
        <pc:sldMkLst>
          <pc:docMk/>
          <pc:sldMk cId="3197428341" sldId="290"/>
        </pc:sldMkLst>
        <pc:spChg chg="mod">
          <ac:chgData name="Florent Ferizaj" userId="1ac95d67-9df5-47eb-b975-9543de642a3b" providerId="ADAL" clId="{2035A8FE-03FB-427D-B8B6-71890AF85A3C}" dt="2023-10-23T07:49:34.631" v="247" actId="14100"/>
          <ac:spMkLst>
            <pc:docMk/>
            <pc:sldMk cId="3197428341" sldId="290"/>
            <ac:spMk id="5" creationId="{93559A69-F753-8F80-EDD6-7D7E41E9F193}"/>
          </ac:spMkLst>
        </pc:spChg>
        <pc:spChg chg="mod">
          <ac:chgData name="Florent Ferizaj" userId="1ac95d67-9df5-47eb-b975-9543de642a3b" providerId="ADAL" clId="{2035A8FE-03FB-427D-B8B6-71890AF85A3C}" dt="2023-10-23T07:27:45.324" v="109" actId="207"/>
          <ac:spMkLst>
            <pc:docMk/>
            <pc:sldMk cId="3197428341" sldId="290"/>
            <ac:spMk id="6" creationId="{6733E502-11CB-693A-5C88-89C38F894C69}"/>
          </ac:spMkLst>
        </pc:spChg>
        <pc:spChg chg="mod">
          <ac:chgData name="Florent Ferizaj" userId="1ac95d67-9df5-47eb-b975-9543de642a3b" providerId="ADAL" clId="{2035A8FE-03FB-427D-B8B6-71890AF85A3C}" dt="2023-10-23T07:27:45.324" v="109" actId="207"/>
          <ac:spMkLst>
            <pc:docMk/>
            <pc:sldMk cId="3197428341" sldId="290"/>
            <ac:spMk id="7" creationId="{03FBC356-B4C3-ECCE-F7DD-064A9B6D645C}"/>
          </ac:spMkLst>
        </pc:spChg>
        <pc:spChg chg="mod">
          <ac:chgData name="Florent Ferizaj" userId="1ac95d67-9df5-47eb-b975-9543de642a3b" providerId="ADAL" clId="{2035A8FE-03FB-427D-B8B6-71890AF85A3C}" dt="2023-10-23T07:27:45.324" v="109" actId="207"/>
          <ac:spMkLst>
            <pc:docMk/>
            <pc:sldMk cId="3197428341" sldId="290"/>
            <ac:spMk id="8" creationId="{43840B9A-5E09-7D6E-0D78-1F60C3AC4E3F}"/>
          </ac:spMkLst>
        </pc:spChg>
        <pc:spChg chg="mod">
          <ac:chgData name="Florent Ferizaj" userId="1ac95d67-9df5-47eb-b975-9543de642a3b" providerId="ADAL" clId="{2035A8FE-03FB-427D-B8B6-71890AF85A3C}" dt="2023-10-23T07:27:45.324" v="109" actId="207"/>
          <ac:spMkLst>
            <pc:docMk/>
            <pc:sldMk cId="3197428341" sldId="290"/>
            <ac:spMk id="9" creationId="{6AA8B5E4-3028-7BC9-6C36-90F9D9A54806}"/>
          </ac:spMkLst>
        </pc:spChg>
        <pc:spChg chg="mod">
          <ac:chgData name="Florent Ferizaj" userId="1ac95d67-9df5-47eb-b975-9543de642a3b" providerId="ADAL" clId="{2035A8FE-03FB-427D-B8B6-71890AF85A3C}" dt="2023-10-23T07:27:45.324" v="109" actId="207"/>
          <ac:spMkLst>
            <pc:docMk/>
            <pc:sldMk cId="3197428341" sldId="290"/>
            <ac:spMk id="10" creationId="{083A30E1-C08F-8D6C-2E6F-BD66088F21C3}"/>
          </ac:spMkLst>
        </pc:spChg>
        <pc:spChg chg="mod">
          <ac:chgData name="Florent Ferizaj" userId="1ac95d67-9df5-47eb-b975-9543de642a3b" providerId="ADAL" clId="{2035A8FE-03FB-427D-B8B6-71890AF85A3C}" dt="2023-10-23T07:27:45.324" v="109" actId="207"/>
          <ac:spMkLst>
            <pc:docMk/>
            <pc:sldMk cId="3197428341" sldId="290"/>
            <ac:spMk id="11" creationId="{D64F2EB2-174E-766A-43B6-161C169010B1}"/>
          </ac:spMkLst>
        </pc:spChg>
        <pc:spChg chg="mod">
          <ac:chgData name="Florent Ferizaj" userId="1ac95d67-9df5-47eb-b975-9543de642a3b" providerId="ADAL" clId="{2035A8FE-03FB-427D-B8B6-71890AF85A3C}" dt="2023-10-23T07:27:45.324" v="109" actId="207"/>
          <ac:spMkLst>
            <pc:docMk/>
            <pc:sldMk cId="3197428341" sldId="290"/>
            <ac:spMk id="13" creationId="{D232B2DD-A6A5-E746-D8EA-4AC695E5C85B}"/>
          </ac:spMkLst>
        </pc:spChg>
        <pc:grpChg chg="add mod">
          <ac:chgData name="Florent Ferizaj" userId="1ac95d67-9df5-47eb-b975-9543de642a3b" providerId="ADAL" clId="{2035A8FE-03FB-427D-B8B6-71890AF85A3C}" dt="2023-10-23T07:49:28.803" v="245" actId="1076"/>
          <ac:grpSpMkLst>
            <pc:docMk/>
            <pc:sldMk cId="3197428341" sldId="290"/>
            <ac:grpSpMk id="4" creationId="{F8CD288A-32E0-2A46-5B10-9916CC6AC13B}"/>
          </ac:grpSpMkLst>
        </pc:grpChg>
        <pc:grpChg chg="del">
          <ac:chgData name="Florent Ferizaj" userId="1ac95d67-9df5-47eb-b975-9543de642a3b" providerId="ADAL" clId="{2035A8FE-03FB-427D-B8B6-71890AF85A3C}" dt="2023-10-23T07:22:10.447" v="104" actId="478"/>
          <ac:grpSpMkLst>
            <pc:docMk/>
            <pc:sldMk cId="3197428341" sldId="290"/>
            <ac:grpSpMk id="31" creationId="{B466D389-647E-4D20-12CC-82BA4E150F9F}"/>
          </ac:grpSpMkLst>
        </pc:grpChg>
      </pc:sldChg>
      <pc:sldChg chg="modSp mod">
        <pc:chgData name="Florent Ferizaj" userId="1ac95d67-9df5-47eb-b975-9543de642a3b" providerId="ADAL" clId="{2035A8FE-03FB-427D-B8B6-71890AF85A3C}" dt="2023-10-25T11:42:42.914" v="2247" actId="1076"/>
        <pc:sldMkLst>
          <pc:docMk/>
          <pc:sldMk cId="2318522847" sldId="297"/>
        </pc:sldMkLst>
        <pc:picChg chg="mod">
          <ac:chgData name="Florent Ferizaj" userId="1ac95d67-9df5-47eb-b975-9543de642a3b" providerId="ADAL" clId="{2035A8FE-03FB-427D-B8B6-71890AF85A3C}" dt="2023-10-25T11:42:42.914" v="2247" actId="1076"/>
          <ac:picMkLst>
            <pc:docMk/>
            <pc:sldMk cId="2318522847" sldId="297"/>
            <ac:picMk id="8" creationId="{95CD106F-A648-0086-526C-6D4BB436FEFE}"/>
          </ac:picMkLst>
        </pc:picChg>
      </pc:sldChg>
      <pc:sldChg chg="delSp modSp del mod">
        <pc:chgData name="Florent Ferizaj" userId="1ac95d67-9df5-47eb-b975-9543de642a3b" providerId="ADAL" clId="{2035A8FE-03FB-427D-B8B6-71890AF85A3C}" dt="2023-10-23T08:32:33.600" v="1059" actId="47"/>
        <pc:sldMkLst>
          <pc:docMk/>
          <pc:sldMk cId="257153363" sldId="409"/>
        </pc:sldMkLst>
        <pc:grpChg chg="del">
          <ac:chgData name="Florent Ferizaj" userId="1ac95d67-9df5-47eb-b975-9543de642a3b" providerId="ADAL" clId="{2035A8FE-03FB-427D-B8B6-71890AF85A3C}" dt="2023-10-23T08:31:40.377" v="1039" actId="21"/>
          <ac:grpSpMkLst>
            <pc:docMk/>
            <pc:sldMk cId="257153363" sldId="409"/>
            <ac:grpSpMk id="84" creationId="{00000000-0000-0000-0000-000000000000}"/>
          </ac:grpSpMkLst>
        </pc:grpChg>
        <pc:grpChg chg="del">
          <ac:chgData name="Florent Ferizaj" userId="1ac95d67-9df5-47eb-b975-9543de642a3b" providerId="ADAL" clId="{2035A8FE-03FB-427D-B8B6-71890AF85A3C}" dt="2023-10-23T08:31:40.377" v="1039" actId="21"/>
          <ac:grpSpMkLst>
            <pc:docMk/>
            <pc:sldMk cId="257153363" sldId="409"/>
            <ac:grpSpMk id="89" creationId="{00000000-0000-0000-0000-000000000000}"/>
          </ac:grpSpMkLst>
        </pc:grpChg>
        <pc:grpChg chg="del">
          <ac:chgData name="Florent Ferizaj" userId="1ac95d67-9df5-47eb-b975-9543de642a3b" providerId="ADAL" clId="{2035A8FE-03FB-427D-B8B6-71890AF85A3C}" dt="2023-10-23T08:31:40.377" v="1039" actId="21"/>
          <ac:grpSpMkLst>
            <pc:docMk/>
            <pc:sldMk cId="257153363" sldId="409"/>
            <ac:grpSpMk id="120" creationId="{00000000-0000-0000-0000-000000000000}"/>
          </ac:grpSpMkLst>
        </pc:grpChg>
        <pc:grpChg chg="del">
          <ac:chgData name="Florent Ferizaj" userId="1ac95d67-9df5-47eb-b975-9543de642a3b" providerId="ADAL" clId="{2035A8FE-03FB-427D-B8B6-71890AF85A3C}" dt="2023-10-23T08:31:40.377" v="1039" actId="21"/>
          <ac:grpSpMkLst>
            <pc:docMk/>
            <pc:sldMk cId="257153363" sldId="409"/>
            <ac:grpSpMk id="136" creationId="{00000000-0000-0000-0000-000000000000}"/>
          </ac:grpSpMkLst>
        </pc:grpChg>
        <pc:picChg chg="del">
          <ac:chgData name="Florent Ferizaj" userId="1ac95d67-9df5-47eb-b975-9543de642a3b" providerId="ADAL" clId="{2035A8FE-03FB-427D-B8B6-71890AF85A3C}" dt="2023-10-23T08:31:40.377" v="1039" actId="21"/>
          <ac:picMkLst>
            <pc:docMk/>
            <pc:sldMk cId="257153363" sldId="409"/>
            <ac:picMk id="73" creationId="{00000000-0000-0000-0000-000000000000}"/>
          </ac:picMkLst>
        </pc:picChg>
        <pc:picChg chg="del">
          <ac:chgData name="Florent Ferizaj" userId="1ac95d67-9df5-47eb-b975-9543de642a3b" providerId="ADAL" clId="{2035A8FE-03FB-427D-B8B6-71890AF85A3C}" dt="2023-10-23T08:31:40.377" v="1039" actId="21"/>
          <ac:picMkLst>
            <pc:docMk/>
            <pc:sldMk cId="257153363" sldId="409"/>
            <ac:picMk id="74" creationId="{00000000-0000-0000-0000-000000000000}"/>
          </ac:picMkLst>
        </pc:picChg>
        <pc:picChg chg="del">
          <ac:chgData name="Florent Ferizaj" userId="1ac95d67-9df5-47eb-b975-9543de642a3b" providerId="ADAL" clId="{2035A8FE-03FB-427D-B8B6-71890AF85A3C}" dt="2023-10-23T08:31:40.377" v="1039" actId="21"/>
          <ac:picMkLst>
            <pc:docMk/>
            <pc:sldMk cId="257153363" sldId="409"/>
            <ac:picMk id="75" creationId="{00000000-0000-0000-0000-000000000000}"/>
          </ac:picMkLst>
        </pc:picChg>
        <pc:picChg chg="del mod">
          <ac:chgData name="Florent Ferizaj" userId="1ac95d67-9df5-47eb-b975-9543de642a3b" providerId="ADAL" clId="{2035A8FE-03FB-427D-B8B6-71890AF85A3C}" dt="2023-10-23T08:31:40.377" v="1039" actId="21"/>
          <ac:picMkLst>
            <pc:docMk/>
            <pc:sldMk cId="257153363" sldId="409"/>
            <ac:picMk id="76" creationId="{00000000-0000-0000-0000-000000000000}"/>
          </ac:picMkLst>
        </pc:picChg>
        <pc:cxnChg chg="del">
          <ac:chgData name="Florent Ferizaj" userId="1ac95d67-9df5-47eb-b975-9543de642a3b" providerId="ADAL" clId="{2035A8FE-03FB-427D-B8B6-71890AF85A3C}" dt="2023-10-23T08:31:40.377" v="1039" actId="21"/>
          <ac:cxnSpMkLst>
            <pc:docMk/>
            <pc:sldMk cId="257153363" sldId="409"/>
            <ac:cxnSpMk id="66" creationId="{00000000-0000-0000-0000-000000000000}"/>
          </ac:cxnSpMkLst>
        </pc:cxnChg>
        <pc:cxnChg chg="del">
          <ac:chgData name="Florent Ferizaj" userId="1ac95d67-9df5-47eb-b975-9543de642a3b" providerId="ADAL" clId="{2035A8FE-03FB-427D-B8B6-71890AF85A3C}" dt="2023-10-23T08:31:40.377" v="1039" actId="21"/>
          <ac:cxnSpMkLst>
            <pc:docMk/>
            <pc:sldMk cId="257153363" sldId="409"/>
            <ac:cxnSpMk id="114" creationId="{00000000-0000-0000-0000-000000000000}"/>
          </ac:cxnSpMkLst>
        </pc:cxnChg>
        <pc:cxnChg chg="del">
          <ac:chgData name="Florent Ferizaj" userId="1ac95d67-9df5-47eb-b975-9543de642a3b" providerId="ADAL" clId="{2035A8FE-03FB-427D-B8B6-71890AF85A3C}" dt="2023-10-23T08:31:40.377" v="1039" actId="21"/>
          <ac:cxnSpMkLst>
            <pc:docMk/>
            <pc:sldMk cId="257153363" sldId="409"/>
            <ac:cxnSpMk id="131" creationId="{00000000-0000-0000-0000-000000000000}"/>
          </ac:cxnSpMkLst>
        </pc:cxnChg>
      </pc:sldChg>
      <pc:sldChg chg="modSp add del mod">
        <pc:chgData name="Florent Ferizaj" userId="1ac95d67-9df5-47eb-b975-9543de642a3b" providerId="ADAL" clId="{2035A8FE-03FB-427D-B8B6-71890AF85A3C}" dt="2023-10-23T08:43:08.242" v="1331" actId="47"/>
        <pc:sldMkLst>
          <pc:docMk/>
          <pc:sldMk cId="777252418" sldId="410"/>
        </pc:sldMkLst>
        <pc:grpChg chg="mod">
          <ac:chgData name="Florent Ferizaj" userId="1ac95d67-9df5-47eb-b975-9543de642a3b" providerId="ADAL" clId="{2035A8FE-03FB-427D-B8B6-71890AF85A3C}" dt="2023-10-23T08:24:40.890" v="807" actId="14100"/>
          <ac:grpSpMkLst>
            <pc:docMk/>
            <pc:sldMk cId="777252418" sldId="410"/>
            <ac:grpSpMk id="5" creationId="{00000000-0000-0000-0000-000000000000}"/>
          </ac:grpSpMkLst>
        </pc:grpChg>
        <pc:grpChg chg="mod">
          <ac:chgData name="Florent Ferizaj" userId="1ac95d67-9df5-47eb-b975-9543de642a3b" providerId="ADAL" clId="{2035A8FE-03FB-427D-B8B6-71890AF85A3C}" dt="2023-10-23T08:24:26.127" v="800" actId="1076"/>
          <ac:grpSpMkLst>
            <pc:docMk/>
            <pc:sldMk cId="777252418" sldId="410"/>
            <ac:grpSpMk id="51" creationId="{00000000-0000-0000-0000-000000000000}"/>
          </ac:grpSpMkLst>
        </pc:grpChg>
      </pc:sldChg>
      <pc:sldChg chg="addSp delSp modSp del mod">
        <pc:chgData name="Florent Ferizaj" userId="1ac95d67-9df5-47eb-b975-9543de642a3b" providerId="ADAL" clId="{2035A8FE-03FB-427D-B8B6-71890AF85A3C}" dt="2023-10-23T08:48:13.804" v="1391" actId="47"/>
        <pc:sldMkLst>
          <pc:docMk/>
          <pc:sldMk cId="1019395379" sldId="411"/>
        </pc:sldMkLst>
        <pc:spChg chg="add del mod">
          <ac:chgData name="Florent Ferizaj" userId="1ac95d67-9df5-47eb-b975-9543de642a3b" providerId="ADAL" clId="{2035A8FE-03FB-427D-B8B6-71890AF85A3C}" dt="2023-10-23T08:45:56.649" v="1353" actId="164"/>
          <ac:spMkLst>
            <pc:docMk/>
            <pc:sldMk cId="1019395379" sldId="411"/>
            <ac:spMk id="29"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34"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38"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15"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17"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19"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0"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1"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2"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3"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4"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5"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6"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7"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8"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29"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30"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32"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34" creationId="{00000000-0000-0000-0000-000000000000}"/>
          </ac:spMkLst>
        </pc:spChg>
        <pc:spChg chg="mod">
          <ac:chgData name="Florent Ferizaj" userId="1ac95d67-9df5-47eb-b975-9543de642a3b" providerId="ADAL" clId="{2035A8FE-03FB-427D-B8B6-71890AF85A3C}" dt="2023-10-23T08:45:47.777" v="1349" actId="164"/>
          <ac:spMkLst>
            <pc:docMk/>
            <pc:sldMk cId="1019395379" sldId="411"/>
            <ac:spMk id="1344536" creationId="{00000000-0000-0000-0000-000000000000}"/>
          </ac:spMkLst>
        </pc:spChg>
        <pc:spChg chg="mod">
          <ac:chgData name="Florent Ferizaj" userId="1ac95d67-9df5-47eb-b975-9543de642a3b" providerId="ADAL" clId="{2035A8FE-03FB-427D-B8B6-71890AF85A3C}" dt="2023-10-23T08:45:47.777" v="1349" actId="164"/>
          <ac:spMkLst>
            <pc:docMk/>
            <pc:sldMk cId="1019395379" sldId="411"/>
            <ac:spMk id="1344537" creationId="{00000000-0000-0000-0000-000000000000}"/>
          </ac:spMkLst>
        </pc:spChg>
        <pc:spChg chg="add del mod">
          <ac:chgData name="Florent Ferizaj" userId="1ac95d67-9df5-47eb-b975-9543de642a3b" providerId="ADAL" clId="{2035A8FE-03FB-427D-B8B6-71890AF85A3C}" dt="2023-10-23T08:45:56.649" v="1353" actId="164"/>
          <ac:spMkLst>
            <pc:docMk/>
            <pc:sldMk cId="1019395379" sldId="411"/>
            <ac:spMk id="1344539" creationId="{00000000-0000-0000-0000-000000000000}"/>
          </ac:spMkLst>
        </pc:spChg>
        <pc:grpChg chg="add del mod">
          <ac:chgData name="Florent Ferizaj" userId="1ac95d67-9df5-47eb-b975-9543de642a3b" providerId="ADAL" clId="{2035A8FE-03FB-427D-B8B6-71890AF85A3C}" dt="2023-10-23T08:45:56.649" v="1353" actId="164"/>
          <ac:grpSpMkLst>
            <pc:docMk/>
            <pc:sldMk cId="1019395379" sldId="411"/>
            <ac:grpSpMk id="2" creationId="{00000000-0000-0000-0000-000000000000}"/>
          </ac:grpSpMkLst>
        </pc:grpChg>
        <pc:grpChg chg="add mod">
          <ac:chgData name="Florent Ferizaj" userId="1ac95d67-9df5-47eb-b975-9543de642a3b" providerId="ADAL" clId="{2035A8FE-03FB-427D-B8B6-71890AF85A3C}" dt="2023-10-23T08:45:47.777" v="1349" actId="164"/>
          <ac:grpSpMkLst>
            <pc:docMk/>
            <pc:sldMk cId="1019395379" sldId="411"/>
            <ac:grpSpMk id="3" creationId="{F9079BE3-66B9-AF62-1B10-8560009ED570}"/>
          </ac:grpSpMkLst>
        </pc:grpChg>
        <pc:grpChg chg="add mod">
          <ac:chgData name="Florent Ferizaj" userId="1ac95d67-9df5-47eb-b975-9543de642a3b" providerId="ADAL" clId="{2035A8FE-03FB-427D-B8B6-71890AF85A3C}" dt="2023-10-23T08:45:56.649" v="1353" actId="164"/>
          <ac:grpSpMkLst>
            <pc:docMk/>
            <pc:sldMk cId="1019395379" sldId="411"/>
            <ac:grpSpMk id="4" creationId="{BE158C7C-A069-6D08-0B1A-4E3DD95AD63C}"/>
          </ac:grpSpMkLst>
        </pc:grpChg>
        <pc:picChg chg="mod">
          <ac:chgData name="Florent Ferizaj" userId="1ac95d67-9df5-47eb-b975-9543de642a3b" providerId="ADAL" clId="{2035A8FE-03FB-427D-B8B6-71890AF85A3C}" dt="2023-10-23T08:45:56.649" v="1353" actId="164"/>
          <ac:picMkLst>
            <pc:docMk/>
            <pc:sldMk cId="1019395379" sldId="411"/>
            <ac:picMk id="1344514" creationId="{00000000-0000-0000-0000-000000000000}"/>
          </ac:picMkLst>
        </pc:picChg>
      </pc:sldChg>
      <pc:sldChg chg="delSp del mod">
        <pc:chgData name="Florent Ferizaj" userId="1ac95d67-9df5-47eb-b975-9543de642a3b" providerId="ADAL" clId="{2035A8FE-03FB-427D-B8B6-71890AF85A3C}" dt="2023-10-23T09:11:15.219" v="1522" actId="47"/>
        <pc:sldMkLst>
          <pc:docMk/>
          <pc:sldMk cId="1113358035" sldId="421"/>
        </pc:sldMkLst>
        <pc:grpChg chg="del">
          <ac:chgData name="Florent Ferizaj" userId="1ac95d67-9df5-47eb-b975-9543de642a3b" providerId="ADAL" clId="{2035A8FE-03FB-427D-B8B6-71890AF85A3C}" dt="2023-10-23T08:23:03.847" v="798" actId="478"/>
          <ac:grpSpMkLst>
            <pc:docMk/>
            <pc:sldMk cId="1113358035" sldId="421"/>
            <ac:grpSpMk id="2" creationId="{00000000-0000-0000-0000-000000000000}"/>
          </ac:grpSpMkLst>
        </pc:grpChg>
      </pc:sldChg>
      <pc:sldChg chg="addSp delSp modSp del mod">
        <pc:chgData name="Florent Ferizaj" userId="1ac95d67-9df5-47eb-b975-9543de642a3b" providerId="ADAL" clId="{2035A8FE-03FB-427D-B8B6-71890AF85A3C}" dt="2023-10-23T09:14:00.502" v="1579" actId="47"/>
        <pc:sldMkLst>
          <pc:docMk/>
          <pc:sldMk cId="1913717465" sldId="422"/>
        </pc:sldMkLst>
        <pc:spChg chg="add del mod">
          <ac:chgData name="Florent Ferizaj" userId="1ac95d67-9df5-47eb-b975-9543de642a3b" providerId="ADAL" clId="{2035A8FE-03FB-427D-B8B6-71890AF85A3C}" dt="2023-10-23T09:12:44.980" v="1543" actId="21"/>
          <ac:spMkLst>
            <pc:docMk/>
            <pc:sldMk cId="1913717465" sldId="422"/>
            <ac:spMk id="4"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5"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7"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8"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9"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10"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16"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23"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25"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26" creationId="{00000000-0000-0000-0000-000000000000}"/>
          </ac:spMkLst>
        </pc:spChg>
        <pc:spChg chg="add del mod">
          <ac:chgData name="Florent Ferizaj" userId="1ac95d67-9df5-47eb-b975-9543de642a3b" providerId="ADAL" clId="{2035A8FE-03FB-427D-B8B6-71890AF85A3C}" dt="2023-10-23T09:12:44.980" v="1543" actId="21"/>
          <ac:spMkLst>
            <pc:docMk/>
            <pc:sldMk cId="1913717465" sldId="422"/>
            <ac:spMk id="27"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28"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30"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31"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37901"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37902" creationId="{00000000-0000-0000-0000-000000000000}"/>
          </ac:spMkLst>
        </pc:spChg>
        <pc:spChg chg="add del">
          <ac:chgData name="Florent Ferizaj" userId="1ac95d67-9df5-47eb-b975-9543de642a3b" providerId="ADAL" clId="{2035A8FE-03FB-427D-B8B6-71890AF85A3C}" dt="2023-10-23T09:12:44.980" v="1543" actId="21"/>
          <ac:spMkLst>
            <pc:docMk/>
            <pc:sldMk cId="1913717465" sldId="422"/>
            <ac:spMk id="37903" creationId="{00000000-0000-0000-0000-000000000000}"/>
          </ac:spMkLst>
        </pc:spChg>
        <pc:picChg chg="add del">
          <ac:chgData name="Florent Ferizaj" userId="1ac95d67-9df5-47eb-b975-9543de642a3b" providerId="ADAL" clId="{2035A8FE-03FB-427D-B8B6-71890AF85A3C}" dt="2023-10-23T09:12:44.980" v="1543" actId="21"/>
          <ac:picMkLst>
            <pc:docMk/>
            <pc:sldMk cId="1913717465" sldId="422"/>
            <ac:picMk id="37900" creationId="{00000000-0000-0000-0000-000000000000}"/>
          </ac:picMkLst>
        </pc:picChg>
      </pc:sldChg>
      <pc:sldChg chg="addSp modSp del mod">
        <pc:chgData name="Florent Ferizaj" userId="1ac95d67-9df5-47eb-b975-9543de642a3b" providerId="ADAL" clId="{2035A8FE-03FB-427D-B8B6-71890AF85A3C}" dt="2023-10-23T12:34:08.531" v="1719" actId="47"/>
        <pc:sldMkLst>
          <pc:docMk/>
          <pc:sldMk cId="3696258500" sldId="432"/>
        </pc:sldMkLst>
        <pc:spChg chg="mod">
          <ac:chgData name="Florent Ferizaj" userId="1ac95d67-9df5-47eb-b975-9543de642a3b" providerId="ADAL" clId="{2035A8FE-03FB-427D-B8B6-71890AF85A3C}" dt="2023-10-23T12:18:43.804" v="1587" actId="164"/>
          <ac:spMkLst>
            <pc:docMk/>
            <pc:sldMk cId="3696258500" sldId="432"/>
            <ac:spMk id="10" creationId="{00000000-0000-0000-0000-000000000000}"/>
          </ac:spMkLst>
        </pc:spChg>
        <pc:spChg chg="mod">
          <ac:chgData name="Florent Ferizaj" userId="1ac95d67-9df5-47eb-b975-9543de642a3b" providerId="ADAL" clId="{2035A8FE-03FB-427D-B8B6-71890AF85A3C}" dt="2023-10-23T12:18:43.804" v="1587" actId="164"/>
          <ac:spMkLst>
            <pc:docMk/>
            <pc:sldMk cId="3696258500" sldId="432"/>
            <ac:spMk id="16" creationId="{00000000-0000-0000-0000-000000000000}"/>
          </ac:spMkLst>
        </pc:spChg>
        <pc:spChg chg="mod">
          <ac:chgData name="Florent Ferizaj" userId="1ac95d67-9df5-47eb-b975-9543de642a3b" providerId="ADAL" clId="{2035A8FE-03FB-427D-B8B6-71890AF85A3C}" dt="2023-10-23T12:18:43.804" v="1587" actId="164"/>
          <ac:spMkLst>
            <pc:docMk/>
            <pc:sldMk cId="3696258500" sldId="432"/>
            <ac:spMk id="17" creationId="{00000000-0000-0000-0000-000000000000}"/>
          </ac:spMkLst>
        </pc:spChg>
        <pc:spChg chg="mod">
          <ac:chgData name="Florent Ferizaj" userId="1ac95d67-9df5-47eb-b975-9543de642a3b" providerId="ADAL" clId="{2035A8FE-03FB-427D-B8B6-71890AF85A3C}" dt="2023-10-23T12:18:43.804" v="1587" actId="164"/>
          <ac:spMkLst>
            <pc:docMk/>
            <pc:sldMk cId="3696258500" sldId="432"/>
            <ac:spMk id="18" creationId="{00000000-0000-0000-0000-000000000000}"/>
          </ac:spMkLst>
        </pc:spChg>
        <pc:spChg chg="mod">
          <ac:chgData name="Florent Ferizaj" userId="1ac95d67-9df5-47eb-b975-9543de642a3b" providerId="ADAL" clId="{2035A8FE-03FB-427D-B8B6-71890AF85A3C}" dt="2023-10-23T12:18:43.804" v="1587" actId="164"/>
          <ac:spMkLst>
            <pc:docMk/>
            <pc:sldMk cId="3696258500" sldId="432"/>
            <ac:spMk id="19" creationId="{00000000-0000-0000-0000-000000000000}"/>
          </ac:spMkLst>
        </pc:spChg>
        <pc:spChg chg="mod">
          <ac:chgData name="Florent Ferizaj" userId="1ac95d67-9df5-47eb-b975-9543de642a3b" providerId="ADAL" clId="{2035A8FE-03FB-427D-B8B6-71890AF85A3C}" dt="2023-10-23T12:18:43.804" v="1587" actId="164"/>
          <ac:spMkLst>
            <pc:docMk/>
            <pc:sldMk cId="3696258500" sldId="432"/>
            <ac:spMk id="20" creationId="{00000000-0000-0000-0000-000000000000}"/>
          </ac:spMkLst>
        </pc:spChg>
        <pc:grpChg chg="add mod">
          <ac:chgData name="Florent Ferizaj" userId="1ac95d67-9df5-47eb-b975-9543de642a3b" providerId="ADAL" clId="{2035A8FE-03FB-427D-B8B6-71890AF85A3C}" dt="2023-10-23T12:18:43.804" v="1587" actId="164"/>
          <ac:grpSpMkLst>
            <pc:docMk/>
            <pc:sldMk cId="3696258500" sldId="432"/>
            <ac:grpSpMk id="4" creationId="{1E5BA0FB-C139-D44B-1C3C-8B531785E942}"/>
          </ac:grpSpMkLst>
        </pc:grpChg>
      </pc:sldChg>
      <pc:sldChg chg="del modNotes">
        <pc:chgData name="Florent Ferizaj" userId="1ac95d67-9df5-47eb-b975-9543de642a3b" providerId="ADAL" clId="{2035A8FE-03FB-427D-B8B6-71890AF85A3C}" dt="2023-10-23T12:35:03.480" v="1760" actId="47"/>
        <pc:sldMkLst>
          <pc:docMk/>
          <pc:sldMk cId="2167695839" sldId="438"/>
        </pc:sldMkLst>
      </pc:sldChg>
      <pc:sldChg chg="del">
        <pc:chgData name="Florent Ferizaj" userId="1ac95d67-9df5-47eb-b975-9543de642a3b" providerId="ADAL" clId="{2035A8FE-03FB-427D-B8B6-71890AF85A3C}" dt="2023-10-23T13:49:02.557" v="1979" actId="47"/>
        <pc:sldMkLst>
          <pc:docMk/>
          <pc:sldMk cId="3527517944" sldId="440"/>
        </pc:sldMkLst>
      </pc:sldChg>
      <pc:sldChg chg="add del">
        <pc:chgData name="Florent Ferizaj" userId="1ac95d67-9df5-47eb-b975-9543de642a3b" providerId="ADAL" clId="{2035A8FE-03FB-427D-B8B6-71890AF85A3C}" dt="2023-10-23T08:43:07.380" v="1330" actId="47"/>
        <pc:sldMkLst>
          <pc:docMk/>
          <pc:sldMk cId="1037585924" sldId="475"/>
        </pc:sldMkLst>
      </pc:sldChg>
      <pc:sldChg chg="addSp delSp modSp del mod modNotes">
        <pc:chgData name="Florent Ferizaj" userId="1ac95d67-9df5-47eb-b975-9543de642a3b" providerId="ADAL" clId="{2035A8FE-03FB-427D-B8B6-71890AF85A3C}" dt="2023-10-23T08:39:58.463" v="1265" actId="47"/>
        <pc:sldMkLst>
          <pc:docMk/>
          <pc:sldMk cId="78591503" sldId="480"/>
        </pc:sldMkLst>
        <pc:spChg chg="mod">
          <ac:chgData name="Florent Ferizaj" userId="1ac95d67-9df5-47eb-b975-9543de642a3b" providerId="ADAL" clId="{2035A8FE-03FB-427D-B8B6-71890AF85A3C}" dt="2023-10-23T08:35:31.031" v="1089" actId="164"/>
          <ac:spMkLst>
            <pc:docMk/>
            <pc:sldMk cId="78591503" sldId="480"/>
            <ac:spMk id="10" creationId="{00000000-0000-0000-0000-000000000000}"/>
          </ac:spMkLst>
        </pc:spChg>
        <pc:spChg chg="add del mod">
          <ac:chgData name="Florent Ferizaj" userId="1ac95d67-9df5-47eb-b975-9543de642a3b" providerId="ADAL" clId="{2035A8FE-03FB-427D-B8B6-71890AF85A3C}" dt="2023-10-23T08:35:31.031" v="1089" actId="164"/>
          <ac:spMkLst>
            <pc:docMk/>
            <pc:sldMk cId="78591503" sldId="480"/>
            <ac:spMk id="11" creationId="{00000000-0000-0000-0000-000000000000}"/>
          </ac:spMkLst>
        </pc:spChg>
        <pc:spChg chg="add del mod">
          <ac:chgData name="Florent Ferizaj" userId="1ac95d67-9df5-47eb-b975-9543de642a3b" providerId="ADAL" clId="{2035A8FE-03FB-427D-B8B6-71890AF85A3C}" dt="2023-10-23T08:35:31.031" v="1089" actId="164"/>
          <ac:spMkLst>
            <pc:docMk/>
            <pc:sldMk cId="78591503" sldId="480"/>
            <ac:spMk id="14" creationId="{00000000-0000-0000-0000-000000000000}"/>
          </ac:spMkLst>
        </pc:spChg>
        <pc:spChg chg="add del mod">
          <ac:chgData name="Florent Ferizaj" userId="1ac95d67-9df5-47eb-b975-9543de642a3b" providerId="ADAL" clId="{2035A8FE-03FB-427D-B8B6-71890AF85A3C}" dt="2023-10-23T08:35:31.031" v="1089" actId="164"/>
          <ac:spMkLst>
            <pc:docMk/>
            <pc:sldMk cId="78591503" sldId="480"/>
            <ac:spMk id="15" creationId="{00000000-0000-0000-0000-000000000000}"/>
          </ac:spMkLst>
        </pc:spChg>
        <pc:spChg chg="add del mod">
          <ac:chgData name="Florent Ferizaj" userId="1ac95d67-9df5-47eb-b975-9543de642a3b" providerId="ADAL" clId="{2035A8FE-03FB-427D-B8B6-71890AF85A3C}" dt="2023-10-23T08:36:28.706" v="1118" actId="14100"/>
          <ac:spMkLst>
            <pc:docMk/>
            <pc:sldMk cId="78591503" sldId="480"/>
            <ac:spMk id="16" creationId="{00000000-0000-0000-0000-000000000000}"/>
          </ac:spMkLst>
        </pc:spChg>
        <pc:spChg chg="add del mod">
          <ac:chgData name="Florent Ferizaj" userId="1ac95d67-9df5-47eb-b975-9543de642a3b" providerId="ADAL" clId="{2035A8FE-03FB-427D-B8B6-71890AF85A3C}" dt="2023-10-23T08:36:42.781" v="1145" actId="1036"/>
          <ac:spMkLst>
            <pc:docMk/>
            <pc:sldMk cId="78591503" sldId="480"/>
            <ac:spMk id="19" creationId="{00000000-0000-0000-0000-000000000000}"/>
          </ac:spMkLst>
        </pc:spChg>
        <pc:spChg chg="add del mod">
          <ac:chgData name="Florent Ferizaj" userId="1ac95d67-9df5-47eb-b975-9543de642a3b" providerId="ADAL" clId="{2035A8FE-03FB-427D-B8B6-71890AF85A3C}" dt="2023-10-23T08:36:52.518" v="1166" actId="1036"/>
          <ac:spMkLst>
            <pc:docMk/>
            <pc:sldMk cId="78591503" sldId="480"/>
            <ac:spMk id="20" creationId="{00000000-0000-0000-0000-000000000000}"/>
          </ac:spMkLst>
        </pc:spChg>
        <pc:spChg chg="add del mod">
          <ac:chgData name="Florent Ferizaj" userId="1ac95d67-9df5-47eb-b975-9543de642a3b" providerId="ADAL" clId="{2035A8FE-03FB-427D-B8B6-71890AF85A3C}" dt="2023-10-23T08:35:31.031" v="1089" actId="164"/>
          <ac:spMkLst>
            <pc:docMk/>
            <pc:sldMk cId="78591503" sldId="480"/>
            <ac:spMk id="30" creationId="{00000000-0000-0000-0000-000000000000}"/>
          </ac:spMkLst>
        </pc:spChg>
        <pc:spChg chg="add del mod">
          <ac:chgData name="Florent Ferizaj" userId="1ac95d67-9df5-47eb-b975-9543de642a3b" providerId="ADAL" clId="{2035A8FE-03FB-427D-B8B6-71890AF85A3C}" dt="2023-10-23T08:35:31.031" v="1089" actId="164"/>
          <ac:spMkLst>
            <pc:docMk/>
            <pc:sldMk cId="78591503" sldId="480"/>
            <ac:spMk id="31" creationId="{00000000-0000-0000-0000-000000000000}"/>
          </ac:spMkLst>
        </pc:spChg>
        <pc:spChg chg="add del mod">
          <ac:chgData name="Florent Ferizaj" userId="1ac95d67-9df5-47eb-b975-9543de642a3b" providerId="ADAL" clId="{2035A8FE-03FB-427D-B8B6-71890AF85A3C}" dt="2023-10-23T08:36:42.781" v="1145" actId="1036"/>
          <ac:spMkLst>
            <pc:docMk/>
            <pc:sldMk cId="78591503" sldId="480"/>
            <ac:spMk id="34" creationId="{00000000-0000-0000-0000-000000000000}"/>
          </ac:spMkLst>
        </pc:spChg>
        <pc:spChg chg="add del mod">
          <ac:chgData name="Florent Ferizaj" userId="1ac95d67-9df5-47eb-b975-9543de642a3b" providerId="ADAL" clId="{2035A8FE-03FB-427D-B8B6-71890AF85A3C}" dt="2023-10-23T08:36:52.518" v="1166" actId="1036"/>
          <ac:spMkLst>
            <pc:docMk/>
            <pc:sldMk cId="78591503" sldId="480"/>
            <ac:spMk id="37" creationId="{00000000-0000-0000-0000-000000000000}"/>
          </ac:spMkLst>
        </pc:spChg>
        <pc:grpChg chg="add del mod">
          <ac:chgData name="Florent Ferizaj" userId="1ac95d67-9df5-47eb-b975-9543de642a3b" providerId="ADAL" clId="{2035A8FE-03FB-427D-B8B6-71890AF85A3C}" dt="2023-10-23T08:35:31.031" v="1089" actId="164"/>
          <ac:grpSpMkLst>
            <pc:docMk/>
            <pc:sldMk cId="78591503" sldId="480"/>
            <ac:grpSpMk id="3" creationId="{00000000-0000-0000-0000-000000000000}"/>
          </ac:grpSpMkLst>
        </pc:grpChg>
        <pc:grpChg chg="add del mod">
          <ac:chgData name="Florent Ferizaj" userId="1ac95d67-9df5-47eb-b975-9543de642a3b" providerId="ADAL" clId="{2035A8FE-03FB-427D-B8B6-71890AF85A3C}" dt="2023-10-23T08:37:02.115" v="1169" actId="21"/>
          <ac:grpSpMkLst>
            <pc:docMk/>
            <pc:sldMk cId="78591503" sldId="480"/>
            <ac:grpSpMk id="4" creationId="{03D98F21-3D6A-AF3F-BF60-9BC0AF3B652B}"/>
          </ac:grpSpMkLst>
        </pc:grpChg>
      </pc:sldChg>
      <pc:sldChg chg="addSp delSp modSp del mod">
        <pc:chgData name="Florent Ferizaj" userId="1ac95d67-9df5-47eb-b975-9543de642a3b" providerId="ADAL" clId="{2035A8FE-03FB-427D-B8B6-71890AF85A3C}" dt="2023-10-23T13:43:00.280" v="1961" actId="47"/>
        <pc:sldMkLst>
          <pc:docMk/>
          <pc:sldMk cId="3600020431" sldId="513"/>
        </pc:sldMkLst>
        <pc:spChg chg="add del mod">
          <ac:chgData name="Florent Ferizaj" userId="1ac95d67-9df5-47eb-b975-9543de642a3b" providerId="ADAL" clId="{2035A8FE-03FB-427D-B8B6-71890AF85A3C}" dt="2023-10-23T13:42:22.521" v="1952" actId="21"/>
          <ac:spMkLst>
            <pc:docMk/>
            <pc:sldMk cId="3600020431" sldId="513"/>
            <ac:spMk id="2" creationId="{25AD4C69-B783-28A2-D62E-99B984328E03}"/>
          </ac:spMkLst>
        </pc:spChg>
        <pc:spChg chg="add del mod">
          <ac:chgData name="Florent Ferizaj" userId="1ac95d67-9df5-47eb-b975-9543de642a3b" providerId="ADAL" clId="{2035A8FE-03FB-427D-B8B6-71890AF85A3C}" dt="2023-10-23T13:42:22.521" v="1952" actId="21"/>
          <ac:spMkLst>
            <pc:docMk/>
            <pc:sldMk cId="3600020431" sldId="513"/>
            <ac:spMk id="3" creationId="{E81EE691-9D26-0E14-9A4B-2C6D5A8C8174}"/>
          </ac:spMkLst>
        </pc:spChg>
        <pc:spChg chg="add del mod">
          <ac:chgData name="Florent Ferizaj" userId="1ac95d67-9df5-47eb-b975-9543de642a3b" providerId="ADAL" clId="{2035A8FE-03FB-427D-B8B6-71890AF85A3C}" dt="2023-10-23T13:42:22.521" v="1952" actId="21"/>
          <ac:spMkLst>
            <pc:docMk/>
            <pc:sldMk cId="3600020431" sldId="513"/>
            <ac:spMk id="4" creationId="{F4E30F4C-6D73-A6C9-2E84-41AFDE0CD22F}"/>
          </ac:spMkLst>
        </pc:spChg>
        <pc:spChg chg="del mod">
          <ac:chgData name="Florent Ferizaj" userId="1ac95d67-9df5-47eb-b975-9543de642a3b" providerId="ADAL" clId="{2035A8FE-03FB-427D-B8B6-71890AF85A3C}" dt="2023-10-23T13:42:22.521" v="1952" actId="21"/>
          <ac:spMkLst>
            <pc:docMk/>
            <pc:sldMk cId="3600020431" sldId="513"/>
            <ac:spMk id="6" creationId="{00000000-0000-0000-0000-000000000000}"/>
          </ac:spMkLst>
        </pc:spChg>
        <pc:spChg chg="mod">
          <ac:chgData name="Florent Ferizaj" userId="1ac95d67-9df5-47eb-b975-9543de642a3b" providerId="ADAL" clId="{2035A8FE-03FB-427D-B8B6-71890AF85A3C}" dt="2023-10-23T07:58:40.001" v="513" actId="6549"/>
          <ac:spMkLst>
            <pc:docMk/>
            <pc:sldMk cId="3600020431" sldId="513"/>
            <ac:spMk id="8" creationId="{00000000-0000-0000-0000-000000000000}"/>
          </ac:spMkLst>
        </pc:spChg>
        <pc:spChg chg="mod">
          <ac:chgData name="Florent Ferizaj" userId="1ac95d67-9df5-47eb-b975-9543de642a3b" providerId="ADAL" clId="{2035A8FE-03FB-427D-B8B6-71890AF85A3C}" dt="2023-10-23T07:59:16.279" v="529" actId="1076"/>
          <ac:spMkLst>
            <pc:docMk/>
            <pc:sldMk cId="3600020431" sldId="513"/>
            <ac:spMk id="10" creationId="{00000000-0000-0000-0000-000000000000}"/>
          </ac:spMkLst>
        </pc:spChg>
        <pc:grpChg chg="add del mod">
          <ac:chgData name="Florent Ferizaj" userId="1ac95d67-9df5-47eb-b975-9543de642a3b" providerId="ADAL" clId="{2035A8FE-03FB-427D-B8B6-71890AF85A3C}" dt="2023-10-23T08:01:01.604" v="722" actId="478"/>
          <ac:grpSpMkLst>
            <pc:docMk/>
            <pc:sldMk cId="3600020431" sldId="513"/>
            <ac:grpSpMk id="5" creationId="{00000000-0000-0000-0000-000000000000}"/>
          </ac:grpSpMkLst>
        </pc:grpChg>
      </pc:sldChg>
      <pc:sldChg chg="addSp delSp modSp del mod">
        <pc:chgData name="Florent Ferizaj" userId="1ac95d67-9df5-47eb-b975-9543de642a3b" providerId="ADAL" clId="{2035A8FE-03FB-427D-B8B6-71890AF85A3C}" dt="2023-10-23T08:31:28.633" v="1036" actId="47"/>
        <pc:sldMkLst>
          <pc:docMk/>
          <pc:sldMk cId="2885373366" sldId="514"/>
        </pc:sldMkLst>
        <pc:spChg chg="add del mod">
          <ac:chgData name="Florent Ferizaj" userId="1ac95d67-9df5-47eb-b975-9543de642a3b" providerId="ADAL" clId="{2035A8FE-03FB-427D-B8B6-71890AF85A3C}" dt="2023-10-23T08:25:19.239" v="814" actId="21"/>
          <ac:spMkLst>
            <pc:docMk/>
            <pc:sldMk cId="2885373366" sldId="514"/>
            <ac:spMk id="7"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11"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12"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13"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14"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33"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34"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42"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43"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44" creationId="{00000000-0000-0000-0000-000000000000}"/>
          </ac:spMkLst>
        </pc:spChg>
        <pc:spChg chg="add del">
          <ac:chgData name="Florent Ferizaj" userId="1ac95d67-9df5-47eb-b975-9543de642a3b" providerId="ADAL" clId="{2035A8FE-03FB-427D-B8B6-71890AF85A3C}" dt="2023-10-23T08:25:19.239" v="814" actId="21"/>
          <ac:spMkLst>
            <pc:docMk/>
            <pc:sldMk cId="2885373366" sldId="514"/>
            <ac:spMk id="45" creationId="{00000000-0000-0000-0000-000000000000}"/>
          </ac:spMkLst>
        </pc:spChg>
        <pc:spChg chg="del">
          <ac:chgData name="Florent Ferizaj" userId="1ac95d67-9df5-47eb-b975-9543de642a3b" providerId="ADAL" clId="{2035A8FE-03FB-427D-B8B6-71890AF85A3C}" dt="2023-10-23T08:25:19.239" v="814" actId="21"/>
          <ac:spMkLst>
            <pc:docMk/>
            <pc:sldMk cId="2885373366" sldId="514"/>
            <ac:spMk id="99330" creationId="{00000000-0000-0000-0000-000000000000}"/>
          </ac:spMkLst>
        </pc:spChg>
        <pc:grpChg chg="add del">
          <ac:chgData name="Florent Ferizaj" userId="1ac95d67-9df5-47eb-b975-9543de642a3b" providerId="ADAL" clId="{2035A8FE-03FB-427D-B8B6-71890AF85A3C}" dt="2023-10-23T08:25:19.239" v="814" actId="21"/>
          <ac:grpSpMkLst>
            <pc:docMk/>
            <pc:sldMk cId="2885373366" sldId="514"/>
            <ac:grpSpMk id="2" creationId="{00000000-0000-0000-0000-000000000000}"/>
          </ac:grpSpMkLst>
        </pc:grpChg>
        <pc:grpChg chg="add del">
          <ac:chgData name="Florent Ferizaj" userId="1ac95d67-9df5-47eb-b975-9543de642a3b" providerId="ADAL" clId="{2035A8FE-03FB-427D-B8B6-71890AF85A3C}" dt="2023-10-23T08:25:19.239" v="814" actId="21"/>
          <ac:grpSpMkLst>
            <pc:docMk/>
            <pc:sldMk cId="2885373366" sldId="514"/>
            <ac:grpSpMk id="3" creationId="{00000000-0000-0000-0000-000000000000}"/>
          </ac:grpSpMkLst>
        </pc:grpChg>
        <pc:grpChg chg="add del">
          <ac:chgData name="Florent Ferizaj" userId="1ac95d67-9df5-47eb-b975-9543de642a3b" providerId="ADAL" clId="{2035A8FE-03FB-427D-B8B6-71890AF85A3C}" dt="2023-10-23T08:25:19.239" v="814" actId="21"/>
          <ac:grpSpMkLst>
            <pc:docMk/>
            <pc:sldMk cId="2885373366" sldId="514"/>
            <ac:grpSpMk id="4" creationId="{00000000-0000-0000-0000-000000000000}"/>
          </ac:grpSpMkLst>
        </pc:grpChg>
        <pc:grpChg chg="add del">
          <ac:chgData name="Florent Ferizaj" userId="1ac95d67-9df5-47eb-b975-9543de642a3b" providerId="ADAL" clId="{2035A8FE-03FB-427D-B8B6-71890AF85A3C}" dt="2023-10-23T08:25:19.239" v="814" actId="21"/>
          <ac:grpSpMkLst>
            <pc:docMk/>
            <pc:sldMk cId="2885373366" sldId="514"/>
            <ac:grpSpMk id="5" creationId="{00000000-0000-0000-0000-000000000000}"/>
          </ac:grpSpMkLst>
        </pc:grpChg>
        <pc:grpChg chg="add del">
          <ac:chgData name="Florent Ferizaj" userId="1ac95d67-9df5-47eb-b975-9543de642a3b" providerId="ADAL" clId="{2035A8FE-03FB-427D-B8B6-71890AF85A3C}" dt="2023-10-23T08:25:19.239" v="814" actId="21"/>
          <ac:grpSpMkLst>
            <pc:docMk/>
            <pc:sldMk cId="2885373366" sldId="514"/>
            <ac:grpSpMk id="6" creationId="{00000000-0000-0000-0000-000000000000}"/>
          </ac:grpSpMkLst>
        </pc:grpChg>
        <pc:grpChg chg="add del">
          <ac:chgData name="Florent Ferizaj" userId="1ac95d67-9df5-47eb-b975-9543de642a3b" providerId="ADAL" clId="{2035A8FE-03FB-427D-B8B6-71890AF85A3C}" dt="2023-10-23T08:25:19.239" v="814" actId="21"/>
          <ac:grpSpMkLst>
            <pc:docMk/>
            <pc:sldMk cId="2885373366" sldId="514"/>
            <ac:grpSpMk id="8" creationId="{00000000-0000-0000-0000-000000000000}"/>
          </ac:grpSpMkLst>
        </pc:grpChg>
      </pc:sldChg>
      <pc:sldChg chg="addSp delSp modSp del mod">
        <pc:chgData name="Florent Ferizaj" userId="1ac95d67-9df5-47eb-b975-9543de642a3b" providerId="ADAL" clId="{2035A8FE-03FB-427D-B8B6-71890AF85A3C}" dt="2023-10-23T09:09:00.278" v="1432" actId="47"/>
        <pc:sldMkLst>
          <pc:docMk/>
          <pc:sldMk cId="3450414030" sldId="516"/>
        </pc:sldMkLst>
        <pc:spChg chg="add del mod">
          <ac:chgData name="Florent Ferizaj" userId="1ac95d67-9df5-47eb-b975-9543de642a3b" providerId="ADAL" clId="{2035A8FE-03FB-427D-B8B6-71890AF85A3C}" dt="2023-10-23T08:43:31.391" v="1338" actId="21"/>
          <ac:spMkLst>
            <pc:docMk/>
            <pc:sldMk cId="3450414030" sldId="516"/>
            <ac:spMk id="3" creationId="{F52B5535-7CF8-B29C-1B4B-210B7F9D10EF}"/>
          </ac:spMkLst>
        </pc:spChg>
        <pc:spChg chg="add del">
          <ac:chgData name="Florent Ferizaj" userId="1ac95d67-9df5-47eb-b975-9543de642a3b" providerId="ADAL" clId="{2035A8FE-03FB-427D-B8B6-71890AF85A3C}" dt="2023-10-23T08:43:31.391" v="1338" actId="21"/>
          <ac:spMkLst>
            <pc:docMk/>
            <pc:sldMk cId="3450414030" sldId="516"/>
            <ac:spMk id="8" creationId="{00000000-0000-0000-0000-000000000000}"/>
          </ac:spMkLst>
        </pc:spChg>
      </pc:sldChg>
      <pc:sldChg chg="addSp delSp modSp mod modAnim">
        <pc:chgData name="Florent Ferizaj" userId="1ac95d67-9df5-47eb-b975-9543de642a3b" providerId="ADAL" clId="{2035A8FE-03FB-427D-B8B6-71890AF85A3C}" dt="2023-10-23T07:50:47.392" v="258" actId="478"/>
        <pc:sldMkLst>
          <pc:docMk/>
          <pc:sldMk cId="95002971" sldId="929"/>
        </pc:sldMkLst>
        <pc:spChg chg="mod">
          <ac:chgData name="Florent Ferizaj" userId="1ac95d67-9df5-47eb-b975-9543de642a3b" providerId="ADAL" clId="{2035A8FE-03FB-427D-B8B6-71890AF85A3C}" dt="2023-10-23T07:49:48.291" v="249" actId="207"/>
          <ac:spMkLst>
            <pc:docMk/>
            <pc:sldMk cId="95002971" sldId="929"/>
            <ac:spMk id="2" creationId="{AF6D40EB-1575-D5B9-2FBB-E378E32BC630}"/>
          </ac:spMkLst>
        </pc:spChg>
        <pc:spChg chg="mod">
          <ac:chgData name="Florent Ferizaj" userId="1ac95d67-9df5-47eb-b975-9543de642a3b" providerId="ADAL" clId="{2035A8FE-03FB-427D-B8B6-71890AF85A3C}" dt="2023-10-23T07:49:39.987" v="248" actId="14100"/>
          <ac:spMkLst>
            <pc:docMk/>
            <pc:sldMk cId="95002971" sldId="929"/>
            <ac:spMk id="5" creationId="{93559A69-F753-8F80-EDD6-7D7E41E9F193}"/>
          </ac:spMkLst>
        </pc:spChg>
        <pc:spChg chg="mod">
          <ac:chgData name="Florent Ferizaj" userId="1ac95d67-9df5-47eb-b975-9543de642a3b" providerId="ADAL" clId="{2035A8FE-03FB-427D-B8B6-71890AF85A3C}" dt="2023-10-23T07:30:30.177" v="113"/>
          <ac:spMkLst>
            <pc:docMk/>
            <pc:sldMk cId="95002971" sldId="929"/>
            <ac:spMk id="6" creationId="{BA2CA0AE-A4F9-67A3-6296-42246DECB7D3}"/>
          </ac:spMkLst>
        </pc:spChg>
        <pc:spChg chg="mod">
          <ac:chgData name="Florent Ferizaj" userId="1ac95d67-9df5-47eb-b975-9543de642a3b" providerId="ADAL" clId="{2035A8FE-03FB-427D-B8B6-71890AF85A3C}" dt="2023-10-23T07:30:30.177" v="113"/>
          <ac:spMkLst>
            <pc:docMk/>
            <pc:sldMk cId="95002971" sldId="929"/>
            <ac:spMk id="7" creationId="{7DD614C9-5FF1-D691-8DAC-C257B57E358A}"/>
          </ac:spMkLst>
        </pc:spChg>
        <pc:spChg chg="mod">
          <ac:chgData name="Florent Ferizaj" userId="1ac95d67-9df5-47eb-b975-9543de642a3b" providerId="ADAL" clId="{2035A8FE-03FB-427D-B8B6-71890AF85A3C}" dt="2023-10-23T07:30:30.177" v="113"/>
          <ac:spMkLst>
            <pc:docMk/>
            <pc:sldMk cId="95002971" sldId="929"/>
            <ac:spMk id="8" creationId="{EAAED8BB-C748-AAE8-8740-527970906263}"/>
          </ac:spMkLst>
        </pc:spChg>
        <pc:spChg chg="mod">
          <ac:chgData name="Florent Ferizaj" userId="1ac95d67-9df5-47eb-b975-9543de642a3b" providerId="ADAL" clId="{2035A8FE-03FB-427D-B8B6-71890AF85A3C}" dt="2023-10-23T07:30:30.177" v="113"/>
          <ac:spMkLst>
            <pc:docMk/>
            <pc:sldMk cId="95002971" sldId="929"/>
            <ac:spMk id="9" creationId="{29BBFC8F-EDC8-2426-25BA-F5EE505A0424}"/>
          </ac:spMkLst>
        </pc:spChg>
        <pc:spChg chg="mod">
          <ac:chgData name="Florent Ferizaj" userId="1ac95d67-9df5-47eb-b975-9543de642a3b" providerId="ADAL" clId="{2035A8FE-03FB-427D-B8B6-71890AF85A3C}" dt="2023-10-23T07:30:30.177" v="113"/>
          <ac:spMkLst>
            <pc:docMk/>
            <pc:sldMk cId="95002971" sldId="929"/>
            <ac:spMk id="10" creationId="{579F4E23-FCA1-E182-A6D4-EF96BD689D79}"/>
          </ac:spMkLst>
        </pc:spChg>
        <pc:spChg chg="mod">
          <ac:chgData name="Florent Ferizaj" userId="1ac95d67-9df5-47eb-b975-9543de642a3b" providerId="ADAL" clId="{2035A8FE-03FB-427D-B8B6-71890AF85A3C}" dt="2023-10-23T07:49:50.532" v="250" actId="207"/>
          <ac:spMkLst>
            <pc:docMk/>
            <pc:sldMk cId="95002971" sldId="929"/>
            <ac:spMk id="12" creationId="{F4AB24F8-EC3D-478F-8745-D9D6564642EE}"/>
          </ac:spMkLst>
        </pc:spChg>
        <pc:spChg chg="mod">
          <ac:chgData name="Florent Ferizaj" userId="1ac95d67-9df5-47eb-b975-9543de642a3b" providerId="ADAL" clId="{2035A8FE-03FB-427D-B8B6-71890AF85A3C}" dt="2023-10-23T07:32:07.404" v="125" actId="207"/>
          <ac:spMkLst>
            <pc:docMk/>
            <pc:sldMk cId="95002971" sldId="929"/>
            <ac:spMk id="13" creationId="{7CAF3C77-0782-1A76-BD1C-827607AD982D}"/>
          </ac:spMkLst>
        </pc:spChg>
        <pc:spChg chg="mod">
          <ac:chgData name="Florent Ferizaj" userId="1ac95d67-9df5-47eb-b975-9543de642a3b" providerId="ADAL" clId="{2035A8FE-03FB-427D-B8B6-71890AF85A3C}" dt="2023-10-23T07:32:07.404" v="125" actId="207"/>
          <ac:spMkLst>
            <pc:docMk/>
            <pc:sldMk cId="95002971" sldId="929"/>
            <ac:spMk id="14" creationId="{CAA8BF32-82A1-ADCE-D5AB-076B2A963037}"/>
          </ac:spMkLst>
        </pc:spChg>
        <pc:spChg chg="mod">
          <ac:chgData name="Florent Ferizaj" userId="1ac95d67-9df5-47eb-b975-9543de642a3b" providerId="ADAL" clId="{2035A8FE-03FB-427D-B8B6-71890AF85A3C}" dt="2023-10-23T07:32:07.404" v="125" actId="207"/>
          <ac:spMkLst>
            <pc:docMk/>
            <pc:sldMk cId="95002971" sldId="929"/>
            <ac:spMk id="15" creationId="{A360B121-293D-E73F-4BCC-39E6F63E629E}"/>
          </ac:spMkLst>
        </pc:spChg>
        <pc:spChg chg="mod">
          <ac:chgData name="Florent Ferizaj" userId="1ac95d67-9df5-47eb-b975-9543de642a3b" providerId="ADAL" clId="{2035A8FE-03FB-427D-B8B6-71890AF85A3C}" dt="2023-10-23T07:32:07.404" v="125" actId="207"/>
          <ac:spMkLst>
            <pc:docMk/>
            <pc:sldMk cId="95002971" sldId="929"/>
            <ac:spMk id="16" creationId="{C06112F6-27A1-1673-D6C5-05CD60DBEAAE}"/>
          </ac:spMkLst>
        </pc:spChg>
        <pc:spChg chg="mod">
          <ac:chgData name="Florent Ferizaj" userId="1ac95d67-9df5-47eb-b975-9543de642a3b" providerId="ADAL" clId="{2035A8FE-03FB-427D-B8B6-71890AF85A3C}" dt="2023-10-23T07:32:07.404" v="125" actId="207"/>
          <ac:spMkLst>
            <pc:docMk/>
            <pc:sldMk cId="95002971" sldId="929"/>
            <ac:spMk id="17" creationId="{F2FC5ECB-DCBF-A672-27B3-956072186458}"/>
          </ac:spMkLst>
        </pc:spChg>
        <pc:spChg chg="add mod ord">
          <ac:chgData name="Florent Ferizaj" userId="1ac95d67-9df5-47eb-b975-9543de642a3b" providerId="ADAL" clId="{2035A8FE-03FB-427D-B8B6-71890AF85A3C}" dt="2023-10-23T07:34:56.284" v="178" actId="1036"/>
          <ac:spMkLst>
            <pc:docMk/>
            <pc:sldMk cId="95002971" sldId="929"/>
            <ac:spMk id="18" creationId="{D0A25D3F-F81B-0F6C-B796-CB8F16D552AF}"/>
          </ac:spMkLst>
        </pc:spChg>
        <pc:spChg chg="add mod">
          <ac:chgData name="Florent Ferizaj" userId="1ac95d67-9df5-47eb-b975-9543de642a3b" providerId="ADAL" clId="{2035A8FE-03FB-427D-B8B6-71890AF85A3C}" dt="2023-10-23T07:34:31.748" v="167" actId="14100"/>
          <ac:spMkLst>
            <pc:docMk/>
            <pc:sldMk cId="95002971" sldId="929"/>
            <ac:spMk id="19" creationId="{64484208-1B90-A2FF-EDDC-5B59233463BF}"/>
          </ac:spMkLst>
        </pc:spChg>
        <pc:spChg chg="add del">
          <ac:chgData name="Florent Ferizaj" userId="1ac95d67-9df5-47eb-b975-9543de642a3b" providerId="ADAL" clId="{2035A8FE-03FB-427D-B8B6-71890AF85A3C}" dt="2023-10-23T07:50:47.392" v="258" actId="478"/>
          <ac:spMkLst>
            <pc:docMk/>
            <pc:sldMk cId="95002971" sldId="929"/>
            <ac:spMk id="20" creationId="{9D30D053-D0E9-44FB-8AE6-0F71A690D06D}"/>
          </ac:spMkLst>
        </pc:spChg>
        <pc:spChg chg="add mod">
          <ac:chgData name="Florent Ferizaj" userId="1ac95d67-9df5-47eb-b975-9543de642a3b" providerId="ADAL" clId="{2035A8FE-03FB-427D-B8B6-71890AF85A3C}" dt="2023-10-23T07:50:32.580" v="256"/>
          <ac:spMkLst>
            <pc:docMk/>
            <pc:sldMk cId="95002971" sldId="929"/>
            <ac:spMk id="21" creationId="{00762223-6058-AD29-BCED-54C97EE14C54}"/>
          </ac:spMkLst>
        </pc:spChg>
        <pc:spChg chg="add mod">
          <ac:chgData name="Florent Ferizaj" userId="1ac95d67-9df5-47eb-b975-9543de642a3b" providerId="ADAL" clId="{2035A8FE-03FB-427D-B8B6-71890AF85A3C}" dt="2023-10-23T07:50:32.580" v="256"/>
          <ac:spMkLst>
            <pc:docMk/>
            <pc:sldMk cId="95002971" sldId="929"/>
            <ac:spMk id="22" creationId="{95980465-88D8-4A07-C09D-3B1E95E0B325}"/>
          </ac:spMkLst>
        </pc:spChg>
        <pc:grpChg chg="add del mod">
          <ac:chgData name="Florent Ferizaj" userId="1ac95d67-9df5-47eb-b975-9543de642a3b" providerId="ADAL" clId="{2035A8FE-03FB-427D-B8B6-71890AF85A3C}" dt="2023-10-23T07:30:37.656" v="117" actId="478"/>
          <ac:grpSpMkLst>
            <pc:docMk/>
            <pc:sldMk cId="95002971" sldId="929"/>
            <ac:grpSpMk id="4" creationId="{972CAA76-ACB5-2BA1-5848-47C2460DAC98}"/>
          </ac:grpSpMkLst>
        </pc:grpChg>
        <pc:grpChg chg="add mod">
          <ac:chgData name="Florent Ferizaj" userId="1ac95d67-9df5-47eb-b975-9543de642a3b" providerId="ADAL" clId="{2035A8FE-03FB-427D-B8B6-71890AF85A3C}" dt="2023-10-23T07:33:34.779" v="147" actId="14100"/>
          <ac:grpSpMkLst>
            <pc:docMk/>
            <pc:sldMk cId="95002971" sldId="929"/>
            <ac:grpSpMk id="11" creationId="{155B8C08-6E12-FDFC-FBA3-38F0829AB47B}"/>
          </ac:grpSpMkLst>
        </pc:grpChg>
        <pc:grpChg chg="del">
          <ac:chgData name="Florent Ferizaj" userId="1ac95d67-9df5-47eb-b975-9543de642a3b" providerId="ADAL" clId="{2035A8FE-03FB-427D-B8B6-71890AF85A3C}" dt="2023-10-23T07:30:29.782" v="112" actId="478"/>
          <ac:grpSpMkLst>
            <pc:docMk/>
            <pc:sldMk cId="95002971" sldId="929"/>
            <ac:grpSpMk id="31" creationId="{B466D389-647E-4D20-12CC-82BA4E150F9F}"/>
          </ac:grpSpMkLst>
        </pc:grpChg>
      </pc:sldChg>
      <pc:sldChg chg="addSp delSp modSp mod">
        <pc:chgData name="Florent Ferizaj" userId="1ac95d67-9df5-47eb-b975-9543de642a3b" providerId="ADAL" clId="{2035A8FE-03FB-427D-B8B6-71890AF85A3C}" dt="2023-10-23T07:52:02.019" v="277" actId="1076"/>
        <pc:sldMkLst>
          <pc:docMk/>
          <pc:sldMk cId="1599634730" sldId="930"/>
        </pc:sldMkLst>
        <pc:spChg chg="mod">
          <ac:chgData name="Florent Ferizaj" userId="1ac95d67-9df5-47eb-b975-9543de642a3b" providerId="ADAL" clId="{2035A8FE-03FB-427D-B8B6-71890AF85A3C}" dt="2023-10-23T07:51:59.326" v="276" actId="14100"/>
          <ac:spMkLst>
            <pc:docMk/>
            <pc:sldMk cId="1599634730" sldId="930"/>
            <ac:spMk id="2" creationId="{AF6D40EB-1575-D5B9-2FBB-E378E32BC630}"/>
          </ac:spMkLst>
        </pc:spChg>
        <pc:spChg chg="add mod">
          <ac:chgData name="Florent Ferizaj" userId="1ac95d67-9df5-47eb-b975-9543de642a3b" providerId="ADAL" clId="{2035A8FE-03FB-427D-B8B6-71890AF85A3C}" dt="2023-10-23T07:42:19.758" v="236" actId="207"/>
          <ac:spMkLst>
            <pc:docMk/>
            <pc:sldMk cId="1599634730" sldId="930"/>
            <ac:spMk id="4" creationId="{1E6160FC-22A8-BB0A-7BA9-8641794D52E5}"/>
          </ac:spMkLst>
        </pc:spChg>
        <pc:spChg chg="mod">
          <ac:chgData name="Florent Ferizaj" userId="1ac95d67-9df5-47eb-b975-9543de642a3b" providerId="ADAL" clId="{2035A8FE-03FB-427D-B8B6-71890AF85A3C}" dt="2023-10-23T07:51:17.779" v="262" actId="14100"/>
          <ac:spMkLst>
            <pc:docMk/>
            <pc:sldMk cId="1599634730" sldId="930"/>
            <ac:spMk id="5" creationId="{93559A69-F753-8F80-EDD6-7D7E41E9F193}"/>
          </ac:spMkLst>
        </pc:spChg>
        <pc:spChg chg="add mod">
          <ac:chgData name="Florent Ferizaj" userId="1ac95d67-9df5-47eb-b975-9543de642a3b" providerId="ADAL" clId="{2035A8FE-03FB-427D-B8B6-71890AF85A3C}" dt="2023-10-23T07:42:19.758" v="236" actId="207"/>
          <ac:spMkLst>
            <pc:docMk/>
            <pc:sldMk cId="1599634730" sldId="930"/>
            <ac:spMk id="6" creationId="{180579FF-B919-4B16-136D-AD39282B7B05}"/>
          </ac:spMkLst>
        </pc:spChg>
        <pc:spChg chg="add mod">
          <ac:chgData name="Florent Ferizaj" userId="1ac95d67-9df5-47eb-b975-9543de642a3b" providerId="ADAL" clId="{2035A8FE-03FB-427D-B8B6-71890AF85A3C}" dt="2023-10-23T07:42:19.758" v="236" actId="207"/>
          <ac:spMkLst>
            <pc:docMk/>
            <pc:sldMk cId="1599634730" sldId="930"/>
            <ac:spMk id="7" creationId="{D136A257-3C62-CA19-D65B-CF1EC7266AE5}"/>
          </ac:spMkLst>
        </pc:spChg>
        <pc:spChg chg="mod">
          <ac:chgData name="Florent Ferizaj" userId="1ac95d67-9df5-47eb-b975-9543de642a3b" providerId="ADAL" clId="{2035A8FE-03FB-427D-B8B6-71890AF85A3C}" dt="2023-10-23T07:51:28.339" v="265" actId="14100"/>
          <ac:spMkLst>
            <pc:docMk/>
            <pc:sldMk cId="1599634730" sldId="930"/>
            <ac:spMk id="12" creationId="{F4AB24F8-EC3D-478F-8745-D9D6564642EE}"/>
          </ac:spMkLst>
        </pc:spChg>
        <pc:spChg chg="del mod">
          <ac:chgData name="Florent Ferizaj" userId="1ac95d67-9df5-47eb-b975-9543de642a3b" providerId="ADAL" clId="{2035A8FE-03FB-427D-B8B6-71890AF85A3C}" dt="2023-10-23T07:51:47.358" v="270" actId="478"/>
          <ac:spMkLst>
            <pc:docMk/>
            <pc:sldMk cId="1599634730" sldId="930"/>
            <ac:spMk id="20" creationId="{9D30D053-D0E9-44FB-8AE6-0F71A690D06D}"/>
          </ac:spMkLst>
        </pc:spChg>
        <pc:grpChg chg="add mod">
          <ac:chgData name="Florent Ferizaj" userId="1ac95d67-9df5-47eb-b975-9543de642a3b" providerId="ADAL" clId="{2035A8FE-03FB-427D-B8B6-71890AF85A3C}" dt="2023-10-23T07:42:19.758" v="236" actId="207"/>
          <ac:grpSpMkLst>
            <pc:docMk/>
            <pc:sldMk cId="1599634730" sldId="930"/>
            <ac:grpSpMk id="8" creationId="{83BE4785-C0D7-E9E1-9156-2EE799B56D7C}"/>
          </ac:grpSpMkLst>
        </pc:grpChg>
        <pc:grpChg chg="add mod">
          <ac:chgData name="Florent Ferizaj" userId="1ac95d67-9df5-47eb-b975-9543de642a3b" providerId="ADAL" clId="{2035A8FE-03FB-427D-B8B6-71890AF85A3C}" dt="2023-10-23T07:52:02.019" v="277" actId="1076"/>
          <ac:grpSpMkLst>
            <pc:docMk/>
            <pc:sldMk cId="1599634730" sldId="930"/>
            <ac:grpSpMk id="9" creationId="{0F162AAC-20A8-1C39-E4CC-C9B1CB78C3DF}"/>
          </ac:grpSpMkLst>
        </pc:grpChg>
        <pc:grpChg chg="del">
          <ac:chgData name="Florent Ferizaj" userId="1ac95d67-9df5-47eb-b975-9543de642a3b" providerId="ADAL" clId="{2035A8FE-03FB-427D-B8B6-71890AF85A3C}" dt="2023-10-23T07:35:22.615" v="180" actId="478"/>
          <ac:grpSpMkLst>
            <pc:docMk/>
            <pc:sldMk cId="1599634730" sldId="930"/>
            <ac:grpSpMk id="31" creationId="{B466D389-647E-4D20-12CC-82BA4E150F9F}"/>
          </ac:grpSpMkLst>
        </pc:grpChg>
      </pc:sldChg>
      <pc:sldChg chg="addSp delSp modSp mod addAnim delAnim modAnim">
        <pc:chgData name="Florent Ferizaj" userId="1ac95d67-9df5-47eb-b975-9543de642a3b" providerId="ADAL" clId="{2035A8FE-03FB-427D-B8B6-71890AF85A3C}" dt="2023-10-23T07:40:21.546" v="223" actId="1076"/>
        <pc:sldMkLst>
          <pc:docMk/>
          <pc:sldMk cId="2545870573" sldId="931"/>
        </pc:sldMkLst>
        <pc:spChg chg="mod">
          <ac:chgData name="Florent Ferizaj" userId="1ac95d67-9df5-47eb-b975-9543de642a3b" providerId="ADAL" clId="{2035A8FE-03FB-427D-B8B6-71890AF85A3C}" dt="2023-10-23T07:20:15.264" v="95" actId="207"/>
          <ac:spMkLst>
            <pc:docMk/>
            <pc:sldMk cId="2545870573" sldId="931"/>
            <ac:spMk id="2" creationId="{AF6D40EB-1575-D5B9-2FBB-E378E32BC630}"/>
          </ac:spMkLst>
        </pc:spChg>
        <pc:spChg chg="mod ord">
          <ac:chgData name="Florent Ferizaj" userId="1ac95d67-9df5-47eb-b975-9543de642a3b" providerId="ADAL" clId="{2035A8FE-03FB-427D-B8B6-71890AF85A3C}" dt="2023-10-23T07:39:30.444" v="217" actId="167"/>
          <ac:spMkLst>
            <pc:docMk/>
            <pc:sldMk cId="2545870573" sldId="931"/>
            <ac:spMk id="5" creationId="{93559A69-F753-8F80-EDD6-7D7E41E9F193}"/>
          </ac:spMkLst>
        </pc:spChg>
        <pc:spChg chg="add del mod">
          <ac:chgData name="Florent Ferizaj" userId="1ac95d67-9df5-47eb-b975-9543de642a3b" providerId="ADAL" clId="{2035A8FE-03FB-427D-B8B6-71890AF85A3C}" dt="2023-10-23T07:18:59.719" v="31"/>
          <ac:spMkLst>
            <pc:docMk/>
            <pc:sldMk cId="2545870573" sldId="931"/>
            <ac:spMk id="8" creationId="{C04ADCAC-629C-0146-A992-9E52E9398955}"/>
          </ac:spMkLst>
        </pc:spChg>
        <pc:spChg chg="add del mod">
          <ac:chgData name="Florent Ferizaj" userId="1ac95d67-9df5-47eb-b975-9543de642a3b" providerId="ADAL" clId="{2035A8FE-03FB-427D-B8B6-71890AF85A3C}" dt="2023-10-23T07:18:57.415" v="29"/>
          <ac:spMkLst>
            <pc:docMk/>
            <pc:sldMk cId="2545870573" sldId="931"/>
            <ac:spMk id="9" creationId="{DF4F7A15-02D9-F1D2-2CFD-8F200493A66D}"/>
          </ac:spMkLst>
        </pc:spChg>
        <pc:spChg chg="add mod">
          <ac:chgData name="Florent Ferizaj" userId="1ac95d67-9df5-47eb-b975-9543de642a3b" providerId="ADAL" clId="{2035A8FE-03FB-427D-B8B6-71890AF85A3C}" dt="2023-10-23T07:37:23.206" v="208" actId="1076"/>
          <ac:spMkLst>
            <pc:docMk/>
            <pc:sldMk cId="2545870573" sldId="931"/>
            <ac:spMk id="10" creationId="{EE1CDB2C-E902-8952-021B-09DC804403C6}"/>
          </ac:spMkLst>
        </pc:spChg>
        <pc:spChg chg="add mod">
          <ac:chgData name="Florent Ferizaj" userId="1ac95d67-9df5-47eb-b975-9543de642a3b" providerId="ADAL" clId="{2035A8FE-03FB-427D-B8B6-71890AF85A3C}" dt="2023-10-23T07:37:24.858" v="209" actId="1076"/>
          <ac:spMkLst>
            <pc:docMk/>
            <pc:sldMk cId="2545870573" sldId="931"/>
            <ac:spMk id="11" creationId="{DB5F3BAF-8783-56B0-00D2-413F4CDFE220}"/>
          </ac:spMkLst>
        </pc:spChg>
        <pc:spChg chg="mod">
          <ac:chgData name="Florent Ferizaj" userId="1ac95d67-9df5-47eb-b975-9543de642a3b" providerId="ADAL" clId="{2035A8FE-03FB-427D-B8B6-71890AF85A3C}" dt="2023-10-23T07:19:35.651" v="60" actId="14100"/>
          <ac:spMkLst>
            <pc:docMk/>
            <pc:sldMk cId="2545870573" sldId="931"/>
            <ac:spMk id="12" creationId="{F4AB24F8-EC3D-478F-8745-D9D6564642EE}"/>
          </ac:spMkLst>
        </pc:spChg>
        <pc:spChg chg="add mod ord">
          <ac:chgData name="Florent Ferizaj" userId="1ac95d67-9df5-47eb-b975-9543de642a3b" providerId="ADAL" clId="{2035A8FE-03FB-427D-B8B6-71890AF85A3C}" dt="2023-10-23T07:39:30.658" v="218" actId="207"/>
          <ac:spMkLst>
            <pc:docMk/>
            <pc:sldMk cId="2545870573" sldId="931"/>
            <ac:spMk id="13" creationId="{A7535F52-4CBE-E170-C5C2-52C518A37A93}"/>
          </ac:spMkLst>
        </pc:spChg>
        <pc:grpChg chg="del">
          <ac:chgData name="Florent Ferizaj" userId="1ac95d67-9df5-47eb-b975-9543de642a3b" providerId="ADAL" clId="{2035A8FE-03FB-427D-B8B6-71890AF85A3C}" dt="2023-10-23T07:13:41.594" v="1" actId="478"/>
          <ac:grpSpMkLst>
            <pc:docMk/>
            <pc:sldMk cId="2545870573" sldId="931"/>
            <ac:grpSpMk id="31" creationId="{B466D389-647E-4D20-12CC-82BA4E150F9F}"/>
          </ac:grpSpMkLst>
        </pc:grpChg>
        <pc:picChg chg="del mod">
          <ac:chgData name="Florent Ferizaj" userId="1ac95d67-9df5-47eb-b975-9543de642a3b" providerId="ADAL" clId="{2035A8FE-03FB-427D-B8B6-71890AF85A3C}" dt="2023-10-23T07:18:01.445" v="9" actId="478"/>
          <ac:picMkLst>
            <pc:docMk/>
            <pc:sldMk cId="2545870573" sldId="931"/>
            <ac:picMk id="6" creationId="{15116560-BC37-4978-B05C-75ABC5C6CC23}"/>
          </ac:picMkLst>
        </pc:picChg>
        <pc:picChg chg="add mod">
          <ac:chgData name="Florent Ferizaj" userId="1ac95d67-9df5-47eb-b975-9543de642a3b" providerId="ADAL" clId="{2035A8FE-03FB-427D-B8B6-71890AF85A3C}" dt="2023-10-23T07:40:21.546" v="223" actId="1076"/>
          <ac:picMkLst>
            <pc:docMk/>
            <pc:sldMk cId="2545870573" sldId="931"/>
            <ac:picMk id="7" creationId="{AA43AD09-E3F4-3F8C-5C35-2DC6C690EC0F}"/>
          </ac:picMkLst>
        </pc:picChg>
      </pc:sldChg>
      <pc:sldChg chg="addSp delSp modSp mod">
        <pc:chgData name="Florent Ferizaj" userId="1ac95d67-9df5-47eb-b975-9543de642a3b" providerId="ADAL" clId="{2035A8FE-03FB-427D-B8B6-71890AF85A3C}" dt="2023-10-24T06:46:41.486" v="2054"/>
        <pc:sldMkLst>
          <pc:docMk/>
          <pc:sldMk cId="2702405990" sldId="932"/>
        </pc:sldMkLst>
        <pc:spChg chg="mod">
          <ac:chgData name="Florent Ferizaj" userId="1ac95d67-9df5-47eb-b975-9543de642a3b" providerId="ADAL" clId="{2035A8FE-03FB-427D-B8B6-71890AF85A3C}" dt="2023-10-23T07:52:40.859" v="284" actId="14100"/>
          <ac:spMkLst>
            <pc:docMk/>
            <pc:sldMk cId="2702405990" sldId="932"/>
            <ac:spMk id="2" creationId="{AF6D40EB-1575-D5B9-2FBB-E378E32BC630}"/>
          </ac:spMkLst>
        </pc:spChg>
        <pc:spChg chg="add mod">
          <ac:chgData name="Florent Ferizaj" userId="1ac95d67-9df5-47eb-b975-9543de642a3b" providerId="ADAL" clId="{2035A8FE-03FB-427D-B8B6-71890AF85A3C}" dt="2023-10-24T06:46:41.486" v="2054"/>
          <ac:spMkLst>
            <pc:docMk/>
            <pc:sldMk cId="2702405990" sldId="932"/>
            <ac:spMk id="4" creationId="{5721320D-C745-32B9-A7E1-B02EA07A6091}"/>
          </ac:spMkLst>
        </pc:spChg>
        <pc:spChg chg="mod">
          <ac:chgData name="Florent Ferizaj" userId="1ac95d67-9df5-47eb-b975-9543de642a3b" providerId="ADAL" clId="{2035A8FE-03FB-427D-B8B6-71890AF85A3C}" dt="2023-10-23T07:52:08.899" v="278" actId="14100"/>
          <ac:spMkLst>
            <pc:docMk/>
            <pc:sldMk cId="2702405990" sldId="932"/>
            <ac:spMk id="5" creationId="{93559A69-F753-8F80-EDD6-7D7E41E9F193}"/>
          </ac:spMkLst>
        </pc:spChg>
        <pc:spChg chg="add mod">
          <ac:chgData name="Florent Ferizaj" userId="1ac95d67-9df5-47eb-b975-9543de642a3b" providerId="ADAL" clId="{2035A8FE-03FB-427D-B8B6-71890AF85A3C}" dt="2023-10-24T06:46:41.486" v="2054"/>
          <ac:spMkLst>
            <pc:docMk/>
            <pc:sldMk cId="2702405990" sldId="932"/>
            <ac:spMk id="6" creationId="{111D6403-28C4-FB4E-DA9F-6A578E0242FE}"/>
          </ac:spMkLst>
        </pc:spChg>
        <pc:spChg chg="mod">
          <ac:chgData name="Florent Ferizaj" userId="1ac95d67-9df5-47eb-b975-9543de642a3b" providerId="ADAL" clId="{2035A8FE-03FB-427D-B8B6-71890AF85A3C}" dt="2023-10-23T07:52:32.019" v="283" actId="1076"/>
          <ac:spMkLst>
            <pc:docMk/>
            <pc:sldMk cId="2702405990" sldId="932"/>
            <ac:spMk id="12" creationId="{F4AB24F8-EC3D-478F-8745-D9D6564642EE}"/>
          </ac:spMkLst>
        </pc:spChg>
        <pc:spChg chg="del mod">
          <ac:chgData name="Florent Ferizaj" userId="1ac95d67-9df5-47eb-b975-9543de642a3b" providerId="ADAL" clId="{2035A8FE-03FB-427D-B8B6-71890AF85A3C}" dt="2023-10-23T07:52:44.908" v="286" actId="478"/>
          <ac:spMkLst>
            <pc:docMk/>
            <pc:sldMk cId="2702405990" sldId="932"/>
            <ac:spMk id="20" creationId="{9D30D053-D0E9-44FB-8AE6-0F71A690D06D}"/>
          </ac:spMkLst>
        </pc:spChg>
        <pc:grpChg chg="del">
          <ac:chgData name="Florent Ferizaj" userId="1ac95d67-9df5-47eb-b975-9543de642a3b" providerId="ADAL" clId="{2035A8FE-03FB-427D-B8B6-71890AF85A3C}" dt="2023-10-23T07:40:52.727" v="224" actId="478"/>
          <ac:grpSpMkLst>
            <pc:docMk/>
            <pc:sldMk cId="2702405990" sldId="932"/>
            <ac:grpSpMk id="31" creationId="{B466D389-647E-4D20-12CC-82BA4E150F9F}"/>
          </ac:grpSpMkLst>
        </pc:grpChg>
      </pc:sldChg>
      <pc:sldChg chg="addSp delSp modSp mod modAnim">
        <pc:chgData name="Florent Ferizaj" userId="1ac95d67-9df5-47eb-b975-9543de642a3b" providerId="ADAL" clId="{2035A8FE-03FB-427D-B8B6-71890AF85A3C}" dt="2023-10-25T12:33:52.235" v="2418" actId="14100"/>
        <pc:sldMkLst>
          <pc:docMk/>
          <pc:sldMk cId="1431337567" sldId="933"/>
        </pc:sldMkLst>
        <pc:spChg chg="del">
          <ac:chgData name="Florent Ferizaj" userId="1ac95d67-9df5-47eb-b975-9543de642a3b" providerId="ADAL" clId="{2035A8FE-03FB-427D-B8B6-71890AF85A3C}" dt="2023-10-25T12:33:05.331" v="2390" actId="478"/>
          <ac:spMkLst>
            <pc:docMk/>
            <pc:sldMk cId="1431337567" sldId="933"/>
            <ac:spMk id="2" creationId="{9A9D3D91-3BE2-81D4-88BA-4B79032F8C2B}"/>
          </ac:spMkLst>
        </pc:spChg>
        <pc:spChg chg="add mod ord">
          <ac:chgData name="Florent Ferizaj" userId="1ac95d67-9df5-47eb-b975-9543de642a3b" providerId="ADAL" clId="{2035A8FE-03FB-427D-B8B6-71890AF85A3C}" dt="2023-10-25T12:33:52.235" v="2418" actId="14100"/>
          <ac:spMkLst>
            <pc:docMk/>
            <pc:sldMk cId="1431337567" sldId="933"/>
            <ac:spMk id="4" creationId="{255C402D-9764-DC9C-A677-7BEB1C8D5225}"/>
          </ac:spMkLst>
        </pc:spChg>
        <pc:spChg chg="mod">
          <ac:chgData name="Florent Ferizaj" userId="1ac95d67-9df5-47eb-b975-9543de642a3b" providerId="ADAL" clId="{2035A8FE-03FB-427D-B8B6-71890AF85A3C}" dt="2023-10-25T12:33:29.583" v="2398" actId="14100"/>
          <ac:spMkLst>
            <pc:docMk/>
            <pc:sldMk cId="1431337567" sldId="933"/>
            <ac:spMk id="8" creationId="{9A48E439-CFC8-693F-CF31-D6D5F01FC8EC}"/>
          </ac:spMkLst>
        </pc:spChg>
        <pc:spChg chg="mod">
          <ac:chgData name="Florent Ferizaj" userId="1ac95d67-9df5-47eb-b975-9543de642a3b" providerId="ADAL" clId="{2035A8FE-03FB-427D-B8B6-71890AF85A3C}" dt="2023-10-25T12:33:19.963" v="2396" actId="20577"/>
          <ac:spMkLst>
            <pc:docMk/>
            <pc:sldMk cId="1431337567" sldId="933"/>
            <ac:spMk id="12" creationId="{34DC3C6D-6FD6-43F5-B034-C60170C1DD4D}"/>
          </ac:spMkLst>
        </pc:spChg>
        <pc:picChg chg="mod ord">
          <ac:chgData name="Florent Ferizaj" userId="1ac95d67-9df5-47eb-b975-9543de642a3b" providerId="ADAL" clId="{2035A8FE-03FB-427D-B8B6-71890AF85A3C}" dt="2023-10-25T12:33:03.587" v="2389" actId="167"/>
          <ac:picMkLst>
            <pc:docMk/>
            <pc:sldMk cId="1431337567" sldId="933"/>
            <ac:picMk id="6" creationId="{DE3D721E-13B4-0304-3648-D240C122CE2B}"/>
          </ac:picMkLst>
        </pc:picChg>
      </pc:sldChg>
      <pc:sldChg chg="addSp delSp modSp mod">
        <pc:chgData name="Florent Ferizaj" userId="1ac95d67-9df5-47eb-b975-9543de642a3b" providerId="ADAL" clId="{2035A8FE-03FB-427D-B8B6-71890AF85A3C}" dt="2023-10-24T06:55:14.518" v="2125" actId="1076"/>
        <pc:sldMkLst>
          <pc:docMk/>
          <pc:sldMk cId="4222272179" sldId="934"/>
        </pc:sldMkLst>
        <pc:spChg chg="mod">
          <ac:chgData name="Florent Ferizaj" userId="1ac95d67-9df5-47eb-b975-9543de642a3b" providerId="ADAL" clId="{2035A8FE-03FB-427D-B8B6-71890AF85A3C}" dt="2023-10-24T06:55:14.518" v="2125" actId="1076"/>
          <ac:spMkLst>
            <pc:docMk/>
            <pc:sldMk cId="4222272179" sldId="934"/>
            <ac:spMk id="2" creationId="{AF6D40EB-1575-D5B9-2FBB-E378E32BC630}"/>
          </ac:spMkLst>
        </pc:spChg>
        <pc:spChg chg="del mod">
          <ac:chgData name="Florent Ferizaj" userId="1ac95d67-9df5-47eb-b975-9543de642a3b" providerId="ADAL" clId="{2035A8FE-03FB-427D-B8B6-71890AF85A3C}" dt="2023-10-23T07:50:15.342" v="255" actId="478"/>
          <ac:spMkLst>
            <pc:docMk/>
            <pc:sldMk cId="4222272179" sldId="934"/>
            <ac:spMk id="5" creationId="{93559A69-F753-8F80-EDD6-7D7E41E9F193}"/>
          </ac:spMkLst>
        </pc:spChg>
        <pc:spChg chg="mod">
          <ac:chgData name="Florent Ferizaj" userId="1ac95d67-9df5-47eb-b975-9543de642a3b" providerId="ADAL" clId="{2035A8FE-03FB-427D-B8B6-71890AF85A3C}" dt="2023-10-23T13:47:43.792" v="1970" actId="207"/>
          <ac:spMkLst>
            <pc:docMk/>
            <pc:sldMk cId="4222272179" sldId="934"/>
            <ac:spMk id="5" creationId="{F9648506-459D-D2EE-800C-7EDD181B5EF9}"/>
          </ac:spMkLst>
        </pc:spChg>
        <pc:spChg chg="mod">
          <ac:chgData name="Florent Ferizaj" userId="1ac95d67-9df5-47eb-b975-9543de642a3b" providerId="ADAL" clId="{2035A8FE-03FB-427D-B8B6-71890AF85A3C}" dt="2023-10-23T13:47:43.792" v="1970" actId="207"/>
          <ac:spMkLst>
            <pc:docMk/>
            <pc:sldMk cId="4222272179" sldId="934"/>
            <ac:spMk id="6" creationId="{75F25347-ECF0-0C32-68D3-10DF45867C9D}"/>
          </ac:spMkLst>
        </pc:spChg>
        <pc:spChg chg="mod">
          <ac:chgData name="Florent Ferizaj" userId="1ac95d67-9df5-47eb-b975-9543de642a3b" providerId="ADAL" clId="{2035A8FE-03FB-427D-B8B6-71890AF85A3C}" dt="2023-10-23T13:47:43.792" v="1970" actId="207"/>
          <ac:spMkLst>
            <pc:docMk/>
            <pc:sldMk cId="4222272179" sldId="934"/>
            <ac:spMk id="7" creationId="{9E715B63-F26A-F1AA-984D-3F7B4960CADC}"/>
          </ac:spMkLst>
        </pc:spChg>
        <pc:spChg chg="mod">
          <ac:chgData name="Florent Ferizaj" userId="1ac95d67-9df5-47eb-b975-9543de642a3b" providerId="ADAL" clId="{2035A8FE-03FB-427D-B8B6-71890AF85A3C}" dt="2023-10-23T13:47:43.792" v="1970" actId="207"/>
          <ac:spMkLst>
            <pc:docMk/>
            <pc:sldMk cId="4222272179" sldId="934"/>
            <ac:spMk id="8" creationId="{DFC46597-002D-5377-9B9A-E79AFF7C0984}"/>
          </ac:spMkLst>
        </pc:spChg>
        <pc:spChg chg="mod">
          <ac:chgData name="Florent Ferizaj" userId="1ac95d67-9df5-47eb-b975-9543de642a3b" providerId="ADAL" clId="{2035A8FE-03FB-427D-B8B6-71890AF85A3C}" dt="2023-10-23T13:47:43.792" v="1970" actId="207"/>
          <ac:spMkLst>
            <pc:docMk/>
            <pc:sldMk cId="4222272179" sldId="934"/>
            <ac:spMk id="9" creationId="{260C10C2-CDC2-E682-92BC-6CE572CD4E3C}"/>
          </ac:spMkLst>
        </pc:spChg>
        <pc:spChg chg="mod">
          <ac:chgData name="Florent Ferizaj" userId="1ac95d67-9df5-47eb-b975-9543de642a3b" providerId="ADAL" clId="{2035A8FE-03FB-427D-B8B6-71890AF85A3C}" dt="2023-10-23T13:47:43.792" v="1970" actId="207"/>
          <ac:spMkLst>
            <pc:docMk/>
            <pc:sldMk cId="4222272179" sldId="934"/>
            <ac:spMk id="10" creationId="{8A1CA5A7-37DE-89DC-6E4B-872C21F45C4C}"/>
          </ac:spMkLst>
        </pc:spChg>
        <pc:spChg chg="mod">
          <ac:chgData name="Florent Ferizaj" userId="1ac95d67-9df5-47eb-b975-9543de642a3b" providerId="ADAL" clId="{2035A8FE-03FB-427D-B8B6-71890AF85A3C}" dt="2023-10-24T06:55:14.518" v="2125" actId="1076"/>
          <ac:spMkLst>
            <pc:docMk/>
            <pc:sldMk cId="4222272179" sldId="934"/>
            <ac:spMk id="12" creationId="{F4AB24F8-EC3D-478F-8745-D9D6564642EE}"/>
          </ac:spMkLst>
        </pc:spChg>
        <pc:grpChg chg="add mod">
          <ac:chgData name="Florent Ferizaj" userId="1ac95d67-9df5-47eb-b975-9543de642a3b" providerId="ADAL" clId="{2035A8FE-03FB-427D-B8B6-71890AF85A3C}" dt="2023-10-23T13:47:43.792" v="1970" actId="207"/>
          <ac:grpSpMkLst>
            <pc:docMk/>
            <pc:sldMk cId="4222272179" sldId="934"/>
            <ac:grpSpMk id="4" creationId="{9E367B5E-64F7-FF79-C658-3BB9D131968F}"/>
          </ac:grpSpMkLst>
        </pc:grpChg>
        <pc:grpChg chg="del">
          <ac:chgData name="Florent Ferizaj" userId="1ac95d67-9df5-47eb-b975-9543de642a3b" providerId="ADAL" clId="{2035A8FE-03FB-427D-B8B6-71890AF85A3C}" dt="2023-10-23T07:50:10.653" v="251" actId="478"/>
          <ac:grpSpMkLst>
            <pc:docMk/>
            <pc:sldMk cId="4222272179" sldId="934"/>
            <ac:grpSpMk id="31" creationId="{B466D389-647E-4D20-12CC-82BA4E150F9F}"/>
          </ac:grpSpMkLst>
        </pc:grpChg>
      </pc:sldChg>
      <pc:sldChg chg="addSp delSp modSp mod">
        <pc:chgData name="Florent Ferizaj" userId="1ac95d67-9df5-47eb-b975-9543de642a3b" providerId="ADAL" clId="{2035A8FE-03FB-427D-B8B6-71890AF85A3C}" dt="2023-10-25T12:39:04.248" v="2440"/>
        <pc:sldMkLst>
          <pc:docMk/>
          <pc:sldMk cId="626066100" sldId="935"/>
        </pc:sldMkLst>
        <pc:spChg chg="mod">
          <ac:chgData name="Florent Ferizaj" userId="1ac95d67-9df5-47eb-b975-9543de642a3b" providerId="ADAL" clId="{2035A8FE-03FB-427D-B8B6-71890AF85A3C}" dt="2023-10-23T07:54:08.923" v="300" actId="1076"/>
          <ac:spMkLst>
            <pc:docMk/>
            <pc:sldMk cId="626066100" sldId="935"/>
            <ac:spMk id="2" creationId="{AF6D40EB-1575-D5B9-2FBB-E378E32BC630}"/>
          </ac:spMkLst>
        </pc:spChg>
        <pc:spChg chg="mod">
          <ac:chgData name="Florent Ferizaj" userId="1ac95d67-9df5-47eb-b975-9543de642a3b" providerId="ADAL" clId="{2035A8FE-03FB-427D-B8B6-71890AF85A3C}" dt="2023-10-23T13:34:55.177" v="1937" actId="207"/>
          <ac:spMkLst>
            <pc:docMk/>
            <pc:sldMk cId="626066100" sldId="935"/>
            <ac:spMk id="6" creationId="{2077418B-4F37-A531-FF8A-F24E7C25B084}"/>
          </ac:spMkLst>
        </pc:spChg>
        <pc:spChg chg="mod">
          <ac:chgData name="Florent Ferizaj" userId="1ac95d67-9df5-47eb-b975-9543de642a3b" providerId="ADAL" clId="{2035A8FE-03FB-427D-B8B6-71890AF85A3C}" dt="2023-10-23T13:34:55.177" v="1937" actId="207"/>
          <ac:spMkLst>
            <pc:docMk/>
            <pc:sldMk cId="626066100" sldId="935"/>
            <ac:spMk id="7" creationId="{A966F6E6-4C80-188D-7572-96AE126E52DC}"/>
          </ac:spMkLst>
        </pc:spChg>
        <pc:spChg chg="mod">
          <ac:chgData name="Florent Ferizaj" userId="1ac95d67-9df5-47eb-b975-9543de642a3b" providerId="ADAL" clId="{2035A8FE-03FB-427D-B8B6-71890AF85A3C}" dt="2023-10-23T13:34:55.177" v="1937" actId="207"/>
          <ac:spMkLst>
            <pc:docMk/>
            <pc:sldMk cId="626066100" sldId="935"/>
            <ac:spMk id="8" creationId="{6A4B9C16-F102-B3EE-A425-09AE0AE4739A}"/>
          </ac:spMkLst>
        </pc:spChg>
        <pc:spChg chg="mod">
          <ac:chgData name="Florent Ferizaj" userId="1ac95d67-9df5-47eb-b975-9543de642a3b" providerId="ADAL" clId="{2035A8FE-03FB-427D-B8B6-71890AF85A3C}" dt="2023-10-23T13:34:55.177" v="1937" actId="207"/>
          <ac:spMkLst>
            <pc:docMk/>
            <pc:sldMk cId="626066100" sldId="935"/>
            <ac:spMk id="9" creationId="{51AB2E72-D469-5F87-4BCB-52BC2906B460}"/>
          </ac:spMkLst>
        </pc:spChg>
        <pc:spChg chg="add del mod">
          <ac:chgData name="Florent Ferizaj" userId="1ac95d67-9df5-47eb-b975-9543de642a3b" providerId="ADAL" clId="{2035A8FE-03FB-427D-B8B6-71890AF85A3C}" dt="2023-10-25T12:39:04.248" v="2440"/>
          <ac:spMkLst>
            <pc:docMk/>
            <pc:sldMk cId="626066100" sldId="935"/>
            <ac:spMk id="10" creationId="{E319BCF3-0FED-967C-B1AA-DDEE6BDD9D1F}"/>
          </ac:spMkLst>
        </pc:spChg>
        <pc:spChg chg="add del mod">
          <ac:chgData name="Florent Ferizaj" userId="1ac95d67-9df5-47eb-b975-9543de642a3b" providerId="ADAL" clId="{2035A8FE-03FB-427D-B8B6-71890AF85A3C}" dt="2023-10-25T12:39:04.248" v="2440"/>
          <ac:spMkLst>
            <pc:docMk/>
            <pc:sldMk cId="626066100" sldId="935"/>
            <ac:spMk id="11" creationId="{69CB5DB7-949B-ADB4-6B0A-F332B33A6FBA}"/>
          </ac:spMkLst>
        </pc:spChg>
        <pc:grpChg chg="add mod">
          <ac:chgData name="Florent Ferizaj" userId="1ac95d67-9df5-47eb-b975-9543de642a3b" providerId="ADAL" clId="{2035A8FE-03FB-427D-B8B6-71890AF85A3C}" dt="2023-10-23T13:34:57.312" v="1938" actId="1076"/>
          <ac:grpSpMkLst>
            <pc:docMk/>
            <pc:sldMk cId="626066100" sldId="935"/>
            <ac:grpSpMk id="4" creationId="{273FD572-E38F-228C-9615-08CD5E765FF1}"/>
          </ac:grpSpMkLst>
        </pc:grpChg>
        <pc:grpChg chg="del">
          <ac:chgData name="Florent Ferizaj" userId="1ac95d67-9df5-47eb-b975-9543de642a3b" providerId="ADAL" clId="{2035A8FE-03FB-427D-B8B6-71890AF85A3C}" dt="2023-10-23T07:54:06.373" v="299" actId="478"/>
          <ac:grpSpMkLst>
            <pc:docMk/>
            <pc:sldMk cId="626066100" sldId="935"/>
            <ac:grpSpMk id="31" creationId="{B466D389-647E-4D20-12CC-82BA4E150F9F}"/>
          </ac:grpSpMkLst>
        </pc:grpChg>
      </pc:sldChg>
      <pc:sldChg chg="addSp delSp modSp mod">
        <pc:chgData name="Florent Ferizaj" userId="1ac95d67-9df5-47eb-b975-9543de642a3b" providerId="ADAL" clId="{2035A8FE-03FB-427D-B8B6-71890AF85A3C}" dt="2023-10-25T12:39:05.444" v="2441"/>
        <pc:sldMkLst>
          <pc:docMk/>
          <pc:sldMk cId="978975697" sldId="936"/>
        </pc:sldMkLst>
        <pc:spChg chg="add del">
          <ac:chgData name="Florent Ferizaj" userId="1ac95d67-9df5-47eb-b975-9543de642a3b" providerId="ADAL" clId="{2035A8FE-03FB-427D-B8B6-71890AF85A3C}" dt="2023-10-24T06:51:40.705" v="2090" actId="478"/>
          <ac:spMkLst>
            <pc:docMk/>
            <pc:sldMk cId="978975697" sldId="936"/>
            <ac:spMk id="2" creationId="{9A9D3D91-3BE2-81D4-88BA-4B79032F8C2B}"/>
          </ac:spMkLst>
        </pc:spChg>
        <pc:spChg chg="add del mod">
          <ac:chgData name="Florent Ferizaj" userId="1ac95d67-9df5-47eb-b975-9543de642a3b" providerId="ADAL" clId="{2035A8FE-03FB-427D-B8B6-71890AF85A3C}" dt="2023-10-24T06:51:36.073" v="2085"/>
          <ac:spMkLst>
            <pc:docMk/>
            <pc:sldMk cId="978975697" sldId="936"/>
            <ac:spMk id="4" creationId="{5C5B2E4C-FB4A-CD98-35DA-48CB596E843A}"/>
          </ac:spMkLst>
        </pc:spChg>
        <pc:spChg chg="add mod">
          <ac:chgData name="Florent Ferizaj" userId="1ac95d67-9df5-47eb-b975-9543de642a3b" providerId="ADAL" clId="{2035A8FE-03FB-427D-B8B6-71890AF85A3C}" dt="2023-10-25T12:39:05.444" v="2441"/>
          <ac:spMkLst>
            <pc:docMk/>
            <pc:sldMk cId="978975697" sldId="936"/>
            <ac:spMk id="4" creationId="{F97E43C3-6B8C-3504-A892-3FFA2D01C1C5}"/>
          </ac:spMkLst>
        </pc:spChg>
        <pc:spChg chg="add mod">
          <ac:chgData name="Florent Ferizaj" userId="1ac95d67-9df5-47eb-b975-9543de642a3b" providerId="ADAL" clId="{2035A8FE-03FB-427D-B8B6-71890AF85A3C}" dt="2023-10-25T12:39:05.444" v="2441"/>
          <ac:spMkLst>
            <pc:docMk/>
            <pc:sldMk cId="978975697" sldId="936"/>
            <ac:spMk id="5" creationId="{385AF7DC-AF3A-769F-461A-43EA83AF2B3F}"/>
          </ac:spMkLst>
        </pc:spChg>
        <pc:spChg chg="add del mod">
          <ac:chgData name="Florent Ferizaj" userId="1ac95d67-9df5-47eb-b975-9543de642a3b" providerId="ADAL" clId="{2035A8FE-03FB-427D-B8B6-71890AF85A3C}" dt="2023-10-24T06:51:36.073" v="2085"/>
          <ac:spMkLst>
            <pc:docMk/>
            <pc:sldMk cId="978975697" sldId="936"/>
            <ac:spMk id="5" creationId="{9B214F17-D7AC-B665-4D7D-1E7AF8F35984}"/>
          </ac:spMkLst>
        </pc:spChg>
        <pc:spChg chg="mod">
          <ac:chgData name="Florent Ferizaj" userId="1ac95d67-9df5-47eb-b975-9543de642a3b" providerId="ADAL" clId="{2035A8FE-03FB-427D-B8B6-71890AF85A3C}" dt="2023-10-25T12:30:16.079" v="2360" actId="14100"/>
          <ac:spMkLst>
            <pc:docMk/>
            <pc:sldMk cId="978975697" sldId="936"/>
            <ac:spMk id="8" creationId="{9A48E439-CFC8-693F-CF31-D6D5F01FC8EC}"/>
          </ac:spMkLst>
        </pc:spChg>
        <pc:spChg chg="mod ord">
          <ac:chgData name="Florent Ferizaj" userId="1ac95d67-9df5-47eb-b975-9543de642a3b" providerId="ADAL" clId="{2035A8FE-03FB-427D-B8B6-71890AF85A3C}" dt="2023-10-25T12:30:28.572" v="2363" actId="20577"/>
          <ac:spMkLst>
            <pc:docMk/>
            <pc:sldMk cId="978975697" sldId="936"/>
            <ac:spMk id="12" creationId="{34DC3C6D-6FD6-43F5-B034-C60170C1DD4D}"/>
          </ac:spMkLst>
        </pc:spChg>
        <pc:picChg chg="mod ord">
          <ac:chgData name="Florent Ferizaj" userId="1ac95d67-9df5-47eb-b975-9543de642a3b" providerId="ADAL" clId="{2035A8FE-03FB-427D-B8B6-71890AF85A3C}" dt="2023-10-25T12:31:13.151" v="2368" actId="14100"/>
          <ac:picMkLst>
            <pc:docMk/>
            <pc:sldMk cId="978975697" sldId="936"/>
            <ac:picMk id="6" creationId="{DE3D721E-13B4-0304-3648-D240C122CE2B}"/>
          </ac:picMkLst>
        </pc:picChg>
      </pc:sldChg>
      <pc:sldChg chg="addSp delSp modSp mod modAnim">
        <pc:chgData name="Florent Ferizaj" userId="1ac95d67-9df5-47eb-b975-9543de642a3b" providerId="ADAL" clId="{2035A8FE-03FB-427D-B8B6-71890AF85A3C}" dt="2023-10-23T13:48:53.664" v="1978" actId="14100"/>
        <pc:sldMkLst>
          <pc:docMk/>
          <pc:sldMk cId="4011451850" sldId="937"/>
        </pc:sldMkLst>
        <pc:spChg chg="mod">
          <ac:chgData name="Florent Ferizaj" userId="1ac95d67-9df5-47eb-b975-9543de642a3b" providerId="ADAL" clId="{2035A8FE-03FB-427D-B8B6-71890AF85A3C}" dt="2023-10-23T12:19:20.166" v="1593"/>
          <ac:spMkLst>
            <pc:docMk/>
            <pc:sldMk cId="4011451850" sldId="937"/>
            <ac:spMk id="5" creationId="{F0FB431B-88B8-8A28-F4F9-5F4761729054}"/>
          </ac:spMkLst>
        </pc:spChg>
        <pc:spChg chg="mod">
          <ac:chgData name="Florent Ferizaj" userId="1ac95d67-9df5-47eb-b975-9543de642a3b" providerId="ADAL" clId="{2035A8FE-03FB-427D-B8B6-71890AF85A3C}" dt="2023-10-23T12:19:20.166" v="1593"/>
          <ac:spMkLst>
            <pc:docMk/>
            <pc:sldMk cId="4011451850" sldId="937"/>
            <ac:spMk id="7" creationId="{2E1F7730-CD81-4F51-8733-5A7219EE9B81}"/>
          </ac:spMkLst>
        </pc:spChg>
        <pc:spChg chg="mod">
          <ac:chgData name="Florent Ferizaj" userId="1ac95d67-9df5-47eb-b975-9543de642a3b" providerId="ADAL" clId="{2035A8FE-03FB-427D-B8B6-71890AF85A3C}" dt="2023-10-23T08:22:43.564" v="797" actId="1076"/>
          <ac:spMkLst>
            <pc:docMk/>
            <pc:sldMk cId="4011451850" sldId="937"/>
            <ac:spMk id="8" creationId="{9A48E439-CFC8-693F-CF31-D6D5F01FC8EC}"/>
          </ac:spMkLst>
        </pc:spChg>
        <pc:spChg chg="mod">
          <ac:chgData name="Florent Ferizaj" userId="1ac95d67-9df5-47eb-b975-9543de642a3b" providerId="ADAL" clId="{2035A8FE-03FB-427D-B8B6-71890AF85A3C}" dt="2023-10-23T12:19:20.166" v="1593"/>
          <ac:spMkLst>
            <pc:docMk/>
            <pc:sldMk cId="4011451850" sldId="937"/>
            <ac:spMk id="9" creationId="{B70D0480-5709-965C-D00C-808B38978588}"/>
          </ac:spMkLst>
        </pc:spChg>
        <pc:spChg chg="mod">
          <ac:chgData name="Florent Ferizaj" userId="1ac95d67-9df5-47eb-b975-9543de642a3b" providerId="ADAL" clId="{2035A8FE-03FB-427D-B8B6-71890AF85A3C}" dt="2023-10-23T12:19:20.166" v="1593"/>
          <ac:spMkLst>
            <pc:docMk/>
            <pc:sldMk cId="4011451850" sldId="937"/>
            <ac:spMk id="10" creationId="{1F469434-C44E-57DF-9BD8-F2EE9B3E20E4}"/>
          </ac:spMkLst>
        </pc:spChg>
        <pc:spChg chg="mod">
          <ac:chgData name="Florent Ferizaj" userId="1ac95d67-9df5-47eb-b975-9543de642a3b" providerId="ADAL" clId="{2035A8FE-03FB-427D-B8B6-71890AF85A3C}" dt="2023-10-23T12:19:20.166" v="1593"/>
          <ac:spMkLst>
            <pc:docMk/>
            <pc:sldMk cId="4011451850" sldId="937"/>
            <ac:spMk id="11" creationId="{3AA128FA-8D69-9D0C-22D9-B11829FECB9F}"/>
          </ac:spMkLst>
        </pc:spChg>
        <pc:spChg chg="mod">
          <ac:chgData name="Florent Ferizaj" userId="1ac95d67-9df5-47eb-b975-9543de642a3b" providerId="ADAL" clId="{2035A8FE-03FB-427D-B8B6-71890AF85A3C}" dt="2023-10-23T08:22:43.564" v="797" actId="1076"/>
          <ac:spMkLst>
            <pc:docMk/>
            <pc:sldMk cId="4011451850" sldId="937"/>
            <ac:spMk id="12" creationId="{34DC3C6D-6FD6-43F5-B034-C60170C1DD4D}"/>
          </ac:spMkLst>
        </pc:spChg>
        <pc:spChg chg="mod">
          <ac:chgData name="Florent Ferizaj" userId="1ac95d67-9df5-47eb-b975-9543de642a3b" providerId="ADAL" clId="{2035A8FE-03FB-427D-B8B6-71890AF85A3C}" dt="2023-10-23T12:19:20.166" v="1593"/>
          <ac:spMkLst>
            <pc:docMk/>
            <pc:sldMk cId="4011451850" sldId="937"/>
            <ac:spMk id="13" creationId="{DE760587-53BB-43F6-BC76-8447FF5C7F47}"/>
          </ac:spMkLst>
        </pc:spChg>
        <pc:grpChg chg="add del mod">
          <ac:chgData name="Florent Ferizaj" userId="1ac95d67-9df5-47eb-b975-9543de642a3b" providerId="ADAL" clId="{2035A8FE-03FB-427D-B8B6-71890AF85A3C}" dt="2023-10-23T12:19:21.058" v="1594"/>
          <ac:grpSpMkLst>
            <pc:docMk/>
            <pc:sldMk cId="4011451850" sldId="937"/>
            <ac:grpSpMk id="4" creationId="{93FCF5A1-75A1-978E-5759-FA45F2BA5831}"/>
          </ac:grpSpMkLst>
        </pc:grpChg>
        <pc:picChg chg="mod">
          <ac:chgData name="Florent Ferizaj" userId="1ac95d67-9df5-47eb-b975-9543de642a3b" providerId="ADAL" clId="{2035A8FE-03FB-427D-B8B6-71890AF85A3C}" dt="2023-10-23T13:48:53.664" v="1978" actId="14100"/>
          <ac:picMkLst>
            <pc:docMk/>
            <pc:sldMk cId="4011451850" sldId="937"/>
            <ac:picMk id="6" creationId="{DE3D721E-13B4-0304-3648-D240C122CE2B}"/>
          </ac:picMkLst>
        </pc:picChg>
      </pc:sldChg>
      <pc:sldChg chg="new del">
        <pc:chgData name="Florent Ferizaj" userId="1ac95d67-9df5-47eb-b975-9543de642a3b" providerId="ADAL" clId="{2035A8FE-03FB-427D-B8B6-71890AF85A3C}" dt="2023-10-23T08:24:56.540" v="809" actId="680"/>
        <pc:sldMkLst>
          <pc:docMk/>
          <pc:sldMk cId="2219734647" sldId="938"/>
        </pc:sldMkLst>
      </pc:sldChg>
      <pc:sldChg chg="addSp delSp modSp new mod">
        <pc:chgData name="Florent Ferizaj" userId="1ac95d67-9df5-47eb-b975-9543de642a3b" providerId="ADAL" clId="{2035A8FE-03FB-427D-B8B6-71890AF85A3C}" dt="2023-10-24T06:53:32.336" v="2123" actId="122"/>
        <pc:sldMkLst>
          <pc:docMk/>
          <pc:sldMk cId="3592160475" sldId="938"/>
        </pc:sldMkLst>
        <pc:spChg chg="del">
          <ac:chgData name="Florent Ferizaj" userId="1ac95d67-9df5-47eb-b975-9543de642a3b" providerId="ADAL" clId="{2035A8FE-03FB-427D-B8B6-71890AF85A3C}" dt="2023-10-23T08:25:10.387" v="811" actId="478"/>
          <ac:spMkLst>
            <pc:docMk/>
            <pc:sldMk cId="3592160475" sldId="938"/>
            <ac:spMk id="2" creationId="{B187FA75-614B-9A7A-1E8A-ECAD8D1CE578}"/>
          </ac:spMkLst>
        </pc:spChg>
        <pc:spChg chg="add del mod">
          <ac:chgData name="Florent Ferizaj" userId="1ac95d67-9df5-47eb-b975-9543de642a3b" providerId="ADAL" clId="{2035A8FE-03FB-427D-B8B6-71890AF85A3C}" dt="2023-10-24T06:53:32.336" v="2123" actId="122"/>
          <ac:spMkLst>
            <pc:docMk/>
            <pc:sldMk cId="3592160475" sldId="938"/>
            <ac:spMk id="3" creationId="{7FF86015-5411-6B67-D33E-EE532995ECA8}"/>
          </ac:spMkLst>
        </pc:spChg>
        <pc:spChg chg="add mod">
          <ac:chgData name="Florent Ferizaj" userId="1ac95d67-9df5-47eb-b975-9543de642a3b" providerId="ADAL" clId="{2035A8FE-03FB-427D-B8B6-71890AF85A3C}" dt="2023-10-23T08:32:42.945" v="1060" actId="164"/>
          <ac:spMkLst>
            <pc:docMk/>
            <pc:sldMk cId="3592160475" sldId="938"/>
            <ac:spMk id="4" creationId="{CA55F360-4CA1-A067-830B-CCA2A5268B25}"/>
          </ac:spMkLst>
        </pc:spChg>
        <pc:spChg chg="add mod">
          <ac:chgData name="Florent Ferizaj" userId="1ac95d67-9df5-47eb-b975-9543de642a3b" providerId="ADAL" clId="{2035A8FE-03FB-427D-B8B6-71890AF85A3C}" dt="2023-10-23T08:32:42.945" v="1060" actId="164"/>
          <ac:spMkLst>
            <pc:docMk/>
            <pc:sldMk cId="3592160475" sldId="938"/>
            <ac:spMk id="5" creationId="{DEADFE3B-6ED9-3C8C-7DC9-DD764023A920}"/>
          </ac:spMkLst>
        </pc:spChg>
        <pc:spChg chg="add mod">
          <ac:chgData name="Florent Ferizaj" userId="1ac95d67-9df5-47eb-b975-9543de642a3b" providerId="ADAL" clId="{2035A8FE-03FB-427D-B8B6-71890AF85A3C}" dt="2023-10-23T08:32:42.945" v="1060" actId="164"/>
          <ac:spMkLst>
            <pc:docMk/>
            <pc:sldMk cId="3592160475" sldId="938"/>
            <ac:spMk id="6" creationId="{34E2E359-6399-C26A-359B-33E9EDF4E169}"/>
          </ac:spMkLst>
        </pc:spChg>
        <pc:spChg chg="add mod">
          <ac:chgData name="Florent Ferizaj" userId="1ac95d67-9df5-47eb-b975-9543de642a3b" providerId="ADAL" clId="{2035A8FE-03FB-427D-B8B6-71890AF85A3C}" dt="2023-10-23T08:32:42.945" v="1060" actId="164"/>
          <ac:spMkLst>
            <pc:docMk/>
            <pc:sldMk cId="3592160475" sldId="938"/>
            <ac:spMk id="7" creationId="{6AA4DFC5-E7A2-BA89-1BA5-F25884B11E5C}"/>
          </ac:spMkLst>
        </pc:spChg>
        <pc:spChg chg="add mod">
          <ac:chgData name="Florent Ferizaj" userId="1ac95d67-9df5-47eb-b975-9543de642a3b" providerId="ADAL" clId="{2035A8FE-03FB-427D-B8B6-71890AF85A3C}" dt="2023-10-23T08:32:42.945" v="1060" actId="164"/>
          <ac:spMkLst>
            <pc:docMk/>
            <pc:sldMk cId="3592160475" sldId="938"/>
            <ac:spMk id="8" creationId="{BB5C4D1A-0C5E-BC2C-8F60-495ED257CC83}"/>
          </ac:spMkLst>
        </pc:spChg>
        <pc:spChg chg="add mod">
          <ac:chgData name="Florent Ferizaj" userId="1ac95d67-9df5-47eb-b975-9543de642a3b" providerId="ADAL" clId="{2035A8FE-03FB-427D-B8B6-71890AF85A3C}" dt="2023-10-23T08:32:42.945" v="1060" actId="164"/>
          <ac:spMkLst>
            <pc:docMk/>
            <pc:sldMk cId="3592160475" sldId="938"/>
            <ac:spMk id="9" creationId="{5E3AB963-6E41-3686-CBD0-4E81E25C25FC}"/>
          </ac:spMkLst>
        </pc:spChg>
        <pc:spChg chg="add mod">
          <ac:chgData name="Florent Ferizaj" userId="1ac95d67-9df5-47eb-b975-9543de642a3b" providerId="ADAL" clId="{2035A8FE-03FB-427D-B8B6-71890AF85A3C}" dt="2023-10-23T08:32:42.945" v="1060" actId="164"/>
          <ac:spMkLst>
            <pc:docMk/>
            <pc:sldMk cId="3592160475" sldId="938"/>
            <ac:spMk id="10" creationId="{8C78562E-3C7B-7E00-D3B6-B6235F966F9A}"/>
          </ac:spMkLst>
        </pc:spChg>
        <pc:spChg chg="add mod">
          <ac:chgData name="Florent Ferizaj" userId="1ac95d67-9df5-47eb-b975-9543de642a3b" providerId="ADAL" clId="{2035A8FE-03FB-427D-B8B6-71890AF85A3C}" dt="2023-10-23T08:32:42.945" v="1060" actId="164"/>
          <ac:spMkLst>
            <pc:docMk/>
            <pc:sldMk cId="3592160475" sldId="938"/>
            <ac:spMk id="11" creationId="{8223CA46-8AF7-4124-E0C9-2C48334AF005}"/>
          </ac:spMkLst>
        </pc:spChg>
        <pc:spChg chg="add mod">
          <ac:chgData name="Florent Ferizaj" userId="1ac95d67-9df5-47eb-b975-9543de642a3b" providerId="ADAL" clId="{2035A8FE-03FB-427D-B8B6-71890AF85A3C}" dt="2023-10-23T08:32:42.945" v="1060" actId="164"/>
          <ac:spMkLst>
            <pc:docMk/>
            <pc:sldMk cId="3592160475" sldId="938"/>
            <ac:spMk id="12" creationId="{641EAFAF-76D5-47AC-CFB9-51EB98E176B4}"/>
          </ac:spMkLst>
        </pc:spChg>
        <pc:spChg chg="add mod">
          <ac:chgData name="Florent Ferizaj" userId="1ac95d67-9df5-47eb-b975-9543de642a3b" providerId="ADAL" clId="{2035A8FE-03FB-427D-B8B6-71890AF85A3C}" dt="2023-10-23T08:32:42.945" v="1060" actId="164"/>
          <ac:spMkLst>
            <pc:docMk/>
            <pc:sldMk cId="3592160475" sldId="938"/>
            <ac:spMk id="13" creationId="{2CE865CD-60A5-315B-BD21-01337DBE2822}"/>
          </ac:spMkLst>
        </pc:spChg>
        <pc:spChg chg="add mod">
          <ac:chgData name="Florent Ferizaj" userId="1ac95d67-9df5-47eb-b975-9543de642a3b" providerId="ADAL" clId="{2035A8FE-03FB-427D-B8B6-71890AF85A3C}" dt="2023-10-23T08:32:42.945" v="1060" actId="164"/>
          <ac:spMkLst>
            <pc:docMk/>
            <pc:sldMk cId="3592160475" sldId="938"/>
            <ac:spMk id="14" creationId="{AA52B9D4-CCAD-B51F-F8FA-BF54BE30B8E6}"/>
          </ac:spMkLst>
        </pc:spChg>
        <pc:spChg chg="mod">
          <ac:chgData name="Florent Ferizaj" userId="1ac95d67-9df5-47eb-b975-9543de642a3b" providerId="ADAL" clId="{2035A8FE-03FB-427D-B8B6-71890AF85A3C}" dt="2023-10-23T08:25:20.454" v="815"/>
          <ac:spMkLst>
            <pc:docMk/>
            <pc:sldMk cId="3592160475" sldId="938"/>
            <ac:spMk id="16" creationId="{9FF18590-9AD7-61BF-0223-5E0387DB4789}"/>
          </ac:spMkLst>
        </pc:spChg>
        <pc:spChg chg="mod">
          <ac:chgData name="Florent Ferizaj" userId="1ac95d67-9df5-47eb-b975-9543de642a3b" providerId="ADAL" clId="{2035A8FE-03FB-427D-B8B6-71890AF85A3C}" dt="2023-10-23T08:25:20.454" v="815"/>
          <ac:spMkLst>
            <pc:docMk/>
            <pc:sldMk cId="3592160475" sldId="938"/>
            <ac:spMk id="17" creationId="{60F70F6A-51F8-8F56-2300-7D9C024391D4}"/>
          </ac:spMkLst>
        </pc:spChg>
        <pc:spChg chg="mod">
          <ac:chgData name="Florent Ferizaj" userId="1ac95d67-9df5-47eb-b975-9543de642a3b" providerId="ADAL" clId="{2035A8FE-03FB-427D-B8B6-71890AF85A3C}" dt="2023-10-23T08:25:20.454" v="815"/>
          <ac:spMkLst>
            <pc:docMk/>
            <pc:sldMk cId="3592160475" sldId="938"/>
            <ac:spMk id="19" creationId="{40128414-ECE8-7326-B29F-6A23A239C8E5}"/>
          </ac:spMkLst>
        </pc:spChg>
        <pc:spChg chg="mod">
          <ac:chgData name="Florent Ferizaj" userId="1ac95d67-9df5-47eb-b975-9543de642a3b" providerId="ADAL" clId="{2035A8FE-03FB-427D-B8B6-71890AF85A3C}" dt="2023-10-23T08:25:20.454" v="815"/>
          <ac:spMkLst>
            <pc:docMk/>
            <pc:sldMk cId="3592160475" sldId="938"/>
            <ac:spMk id="20" creationId="{195C9261-45A5-CEAB-148A-70B40CFE95B5}"/>
          </ac:spMkLst>
        </pc:spChg>
        <pc:spChg chg="mod">
          <ac:chgData name="Florent Ferizaj" userId="1ac95d67-9df5-47eb-b975-9543de642a3b" providerId="ADAL" clId="{2035A8FE-03FB-427D-B8B6-71890AF85A3C}" dt="2023-10-23T08:25:20.454" v="815"/>
          <ac:spMkLst>
            <pc:docMk/>
            <pc:sldMk cId="3592160475" sldId="938"/>
            <ac:spMk id="22" creationId="{2BC0EB1F-ABF9-9E10-E5AF-73901DDEC804}"/>
          </ac:spMkLst>
        </pc:spChg>
        <pc:spChg chg="mod">
          <ac:chgData name="Florent Ferizaj" userId="1ac95d67-9df5-47eb-b975-9543de642a3b" providerId="ADAL" clId="{2035A8FE-03FB-427D-B8B6-71890AF85A3C}" dt="2023-10-23T08:25:20.454" v="815"/>
          <ac:spMkLst>
            <pc:docMk/>
            <pc:sldMk cId="3592160475" sldId="938"/>
            <ac:spMk id="23" creationId="{7027F3AE-DBB9-5583-C15A-9D9D93112152}"/>
          </ac:spMkLst>
        </pc:spChg>
        <pc:spChg chg="mod">
          <ac:chgData name="Florent Ferizaj" userId="1ac95d67-9df5-47eb-b975-9543de642a3b" providerId="ADAL" clId="{2035A8FE-03FB-427D-B8B6-71890AF85A3C}" dt="2023-10-23T08:25:20.454" v="815"/>
          <ac:spMkLst>
            <pc:docMk/>
            <pc:sldMk cId="3592160475" sldId="938"/>
            <ac:spMk id="25" creationId="{F7D9877F-0742-AF45-5274-7438993B5459}"/>
          </ac:spMkLst>
        </pc:spChg>
        <pc:spChg chg="mod">
          <ac:chgData name="Florent Ferizaj" userId="1ac95d67-9df5-47eb-b975-9543de642a3b" providerId="ADAL" clId="{2035A8FE-03FB-427D-B8B6-71890AF85A3C}" dt="2023-10-23T08:25:20.454" v="815"/>
          <ac:spMkLst>
            <pc:docMk/>
            <pc:sldMk cId="3592160475" sldId="938"/>
            <ac:spMk id="26" creationId="{409CF3E7-FE92-F7BB-0F8F-5B96501CF030}"/>
          </ac:spMkLst>
        </pc:spChg>
        <pc:spChg chg="mod">
          <ac:chgData name="Florent Ferizaj" userId="1ac95d67-9df5-47eb-b975-9543de642a3b" providerId="ADAL" clId="{2035A8FE-03FB-427D-B8B6-71890AF85A3C}" dt="2023-10-23T08:25:20.454" v="815"/>
          <ac:spMkLst>
            <pc:docMk/>
            <pc:sldMk cId="3592160475" sldId="938"/>
            <ac:spMk id="28" creationId="{AF28B21B-F730-3D62-E6AF-968C5030DDFB}"/>
          </ac:spMkLst>
        </pc:spChg>
        <pc:spChg chg="mod">
          <ac:chgData name="Florent Ferizaj" userId="1ac95d67-9df5-47eb-b975-9543de642a3b" providerId="ADAL" clId="{2035A8FE-03FB-427D-B8B6-71890AF85A3C}" dt="2023-10-23T08:25:20.454" v="815"/>
          <ac:spMkLst>
            <pc:docMk/>
            <pc:sldMk cId="3592160475" sldId="938"/>
            <ac:spMk id="29" creationId="{157C7FA1-21E4-1F47-4A47-095CB5A53290}"/>
          </ac:spMkLst>
        </pc:spChg>
        <pc:spChg chg="mod">
          <ac:chgData name="Florent Ferizaj" userId="1ac95d67-9df5-47eb-b975-9543de642a3b" providerId="ADAL" clId="{2035A8FE-03FB-427D-B8B6-71890AF85A3C}" dt="2023-10-23T08:25:20.454" v="815"/>
          <ac:spMkLst>
            <pc:docMk/>
            <pc:sldMk cId="3592160475" sldId="938"/>
            <ac:spMk id="31" creationId="{4C241632-D954-9012-CB80-84A47E2D537A}"/>
          </ac:spMkLst>
        </pc:spChg>
        <pc:spChg chg="mod">
          <ac:chgData name="Florent Ferizaj" userId="1ac95d67-9df5-47eb-b975-9543de642a3b" providerId="ADAL" clId="{2035A8FE-03FB-427D-B8B6-71890AF85A3C}" dt="2023-10-23T08:25:20.454" v="815"/>
          <ac:spMkLst>
            <pc:docMk/>
            <pc:sldMk cId="3592160475" sldId="938"/>
            <ac:spMk id="32" creationId="{35BA33B8-1F4D-2E35-10C7-C1183F3A1CBD}"/>
          </ac:spMkLst>
        </pc:spChg>
        <pc:spChg chg="add mod">
          <ac:chgData name="Florent Ferizaj" userId="1ac95d67-9df5-47eb-b975-9543de642a3b" providerId="ADAL" clId="{2035A8FE-03FB-427D-B8B6-71890AF85A3C}" dt="2023-10-23T08:32:42.945" v="1060" actId="164"/>
          <ac:spMkLst>
            <pc:docMk/>
            <pc:sldMk cId="3592160475" sldId="938"/>
            <ac:spMk id="33" creationId="{CA296858-09C1-C340-66D0-7C38F2E35434}"/>
          </ac:spMkLst>
        </pc:spChg>
        <pc:spChg chg="add mod">
          <ac:chgData name="Florent Ferizaj" userId="1ac95d67-9df5-47eb-b975-9543de642a3b" providerId="ADAL" clId="{2035A8FE-03FB-427D-B8B6-71890AF85A3C}" dt="2023-10-23T08:32:42.945" v="1060" actId="164"/>
          <ac:spMkLst>
            <pc:docMk/>
            <pc:sldMk cId="3592160475" sldId="938"/>
            <ac:spMk id="34" creationId="{64E0C5B2-383E-64B4-140F-B7A706F86DA5}"/>
          </ac:spMkLst>
        </pc:spChg>
        <pc:spChg chg="add mod">
          <ac:chgData name="Florent Ferizaj" userId="1ac95d67-9df5-47eb-b975-9543de642a3b" providerId="ADAL" clId="{2035A8FE-03FB-427D-B8B6-71890AF85A3C}" dt="2023-10-23T08:32:42.945" v="1060" actId="164"/>
          <ac:spMkLst>
            <pc:docMk/>
            <pc:sldMk cId="3592160475" sldId="938"/>
            <ac:spMk id="35" creationId="{5CCA197E-2C48-3526-EA18-1FEED64B848E}"/>
          </ac:spMkLst>
        </pc:spChg>
        <pc:spChg chg="add mod">
          <ac:chgData name="Florent Ferizaj" userId="1ac95d67-9df5-47eb-b975-9543de642a3b" providerId="ADAL" clId="{2035A8FE-03FB-427D-B8B6-71890AF85A3C}" dt="2023-10-23T08:32:42.945" v="1060" actId="164"/>
          <ac:spMkLst>
            <pc:docMk/>
            <pc:sldMk cId="3592160475" sldId="938"/>
            <ac:spMk id="36" creationId="{671C5EEF-52F7-2F36-6867-05DC04FDFDEA}"/>
          </ac:spMkLst>
        </pc:spChg>
        <pc:grpChg chg="add mod">
          <ac:chgData name="Florent Ferizaj" userId="1ac95d67-9df5-47eb-b975-9543de642a3b" providerId="ADAL" clId="{2035A8FE-03FB-427D-B8B6-71890AF85A3C}" dt="2023-10-23T08:32:42.945" v="1060" actId="164"/>
          <ac:grpSpMkLst>
            <pc:docMk/>
            <pc:sldMk cId="3592160475" sldId="938"/>
            <ac:grpSpMk id="15" creationId="{E6D1A039-7B99-81F8-D625-B468C06F127F}"/>
          </ac:grpSpMkLst>
        </pc:grpChg>
        <pc:grpChg chg="add mod">
          <ac:chgData name="Florent Ferizaj" userId="1ac95d67-9df5-47eb-b975-9543de642a3b" providerId="ADAL" clId="{2035A8FE-03FB-427D-B8B6-71890AF85A3C}" dt="2023-10-23T08:32:42.945" v="1060" actId="164"/>
          <ac:grpSpMkLst>
            <pc:docMk/>
            <pc:sldMk cId="3592160475" sldId="938"/>
            <ac:grpSpMk id="18" creationId="{F563EF88-99B8-4350-2719-F81306ACF330}"/>
          </ac:grpSpMkLst>
        </pc:grpChg>
        <pc:grpChg chg="add mod">
          <ac:chgData name="Florent Ferizaj" userId="1ac95d67-9df5-47eb-b975-9543de642a3b" providerId="ADAL" clId="{2035A8FE-03FB-427D-B8B6-71890AF85A3C}" dt="2023-10-23T08:32:42.945" v="1060" actId="164"/>
          <ac:grpSpMkLst>
            <pc:docMk/>
            <pc:sldMk cId="3592160475" sldId="938"/>
            <ac:grpSpMk id="21" creationId="{A4B5026F-0B2D-49D6-3658-74CD11FB8EDD}"/>
          </ac:grpSpMkLst>
        </pc:grpChg>
        <pc:grpChg chg="add mod">
          <ac:chgData name="Florent Ferizaj" userId="1ac95d67-9df5-47eb-b975-9543de642a3b" providerId="ADAL" clId="{2035A8FE-03FB-427D-B8B6-71890AF85A3C}" dt="2023-10-23T08:32:42.945" v="1060" actId="164"/>
          <ac:grpSpMkLst>
            <pc:docMk/>
            <pc:sldMk cId="3592160475" sldId="938"/>
            <ac:grpSpMk id="24" creationId="{C8FF264C-5A45-8E4A-C585-632D2AAC408A}"/>
          </ac:grpSpMkLst>
        </pc:grpChg>
        <pc:grpChg chg="add mod">
          <ac:chgData name="Florent Ferizaj" userId="1ac95d67-9df5-47eb-b975-9543de642a3b" providerId="ADAL" clId="{2035A8FE-03FB-427D-B8B6-71890AF85A3C}" dt="2023-10-23T08:32:42.945" v="1060" actId="164"/>
          <ac:grpSpMkLst>
            <pc:docMk/>
            <pc:sldMk cId="3592160475" sldId="938"/>
            <ac:grpSpMk id="27" creationId="{798FAE27-E37D-69C9-D58B-78C0CF3CAED7}"/>
          </ac:grpSpMkLst>
        </pc:grpChg>
        <pc:grpChg chg="add mod">
          <ac:chgData name="Florent Ferizaj" userId="1ac95d67-9df5-47eb-b975-9543de642a3b" providerId="ADAL" clId="{2035A8FE-03FB-427D-B8B6-71890AF85A3C}" dt="2023-10-23T08:32:42.945" v="1060" actId="164"/>
          <ac:grpSpMkLst>
            <pc:docMk/>
            <pc:sldMk cId="3592160475" sldId="938"/>
            <ac:grpSpMk id="30" creationId="{E9084B78-5EAD-DE0B-D317-DB64FAD1FF60}"/>
          </ac:grpSpMkLst>
        </pc:grpChg>
        <pc:grpChg chg="add mod">
          <ac:chgData name="Florent Ferizaj" userId="1ac95d67-9df5-47eb-b975-9543de642a3b" providerId="ADAL" clId="{2035A8FE-03FB-427D-B8B6-71890AF85A3C}" dt="2023-10-23T08:37:19.856" v="1174" actId="14100"/>
          <ac:grpSpMkLst>
            <pc:docMk/>
            <pc:sldMk cId="3592160475" sldId="938"/>
            <ac:grpSpMk id="37" creationId="{05DC2F95-3A3A-864C-25F8-628998108A16}"/>
          </ac:grpSpMkLst>
        </pc:grpChg>
      </pc:sldChg>
      <pc:sldChg chg="addSp delSp modSp new del mod">
        <pc:chgData name="Florent Ferizaj" userId="1ac95d67-9df5-47eb-b975-9543de642a3b" providerId="ADAL" clId="{2035A8FE-03FB-427D-B8B6-71890AF85A3C}" dt="2023-10-23T08:31:59.629" v="1045" actId="680"/>
        <pc:sldMkLst>
          <pc:docMk/>
          <pc:sldMk cId="1431153338" sldId="939"/>
        </pc:sldMkLst>
        <pc:spChg chg="add del">
          <ac:chgData name="Florent Ferizaj" userId="1ac95d67-9df5-47eb-b975-9543de642a3b" providerId="ADAL" clId="{2035A8FE-03FB-427D-B8B6-71890AF85A3C}" dt="2023-10-23T08:31:58.857" v="1044" actId="478"/>
          <ac:spMkLst>
            <pc:docMk/>
            <pc:sldMk cId="1431153338" sldId="939"/>
            <ac:spMk id="2" creationId="{42122C3A-A168-365B-746F-BF9F30E3B61B}"/>
          </ac:spMkLst>
        </pc:spChg>
        <pc:spChg chg="mod">
          <ac:chgData name="Florent Ferizaj" userId="1ac95d67-9df5-47eb-b975-9543de642a3b" providerId="ADAL" clId="{2035A8FE-03FB-427D-B8B6-71890AF85A3C}" dt="2023-10-23T08:31:53.508" v="1042"/>
          <ac:spMkLst>
            <pc:docMk/>
            <pc:sldMk cId="1431153338" sldId="939"/>
            <ac:spMk id="9" creationId="{F64D67D5-FBC4-C58F-6147-211CD80F4300}"/>
          </ac:spMkLst>
        </pc:spChg>
        <pc:spChg chg="mod">
          <ac:chgData name="Florent Ferizaj" userId="1ac95d67-9df5-47eb-b975-9543de642a3b" providerId="ADAL" clId="{2035A8FE-03FB-427D-B8B6-71890AF85A3C}" dt="2023-10-23T08:31:53.508" v="1042"/>
          <ac:spMkLst>
            <pc:docMk/>
            <pc:sldMk cId="1431153338" sldId="939"/>
            <ac:spMk id="10" creationId="{66702678-083D-79B2-2E05-0F59DB09B67C}"/>
          </ac:spMkLst>
        </pc:spChg>
        <pc:spChg chg="mod">
          <ac:chgData name="Florent Ferizaj" userId="1ac95d67-9df5-47eb-b975-9543de642a3b" providerId="ADAL" clId="{2035A8FE-03FB-427D-B8B6-71890AF85A3C}" dt="2023-10-23T08:31:53.508" v="1042"/>
          <ac:spMkLst>
            <pc:docMk/>
            <pc:sldMk cId="1431153338" sldId="939"/>
            <ac:spMk id="11" creationId="{184FC9CD-ED79-F627-7C0A-B642E35FA126}"/>
          </ac:spMkLst>
        </pc:spChg>
        <pc:spChg chg="mod">
          <ac:chgData name="Florent Ferizaj" userId="1ac95d67-9df5-47eb-b975-9543de642a3b" providerId="ADAL" clId="{2035A8FE-03FB-427D-B8B6-71890AF85A3C}" dt="2023-10-23T08:31:53.508" v="1042"/>
          <ac:spMkLst>
            <pc:docMk/>
            <pc:sldMk cId="1431153338" sldId="939"/>
            <ac:spMk id="14" creationId="{A6896A3C-0489-BF7A-DF3C-22FE28AE6A08}"/>
          </ac:spMkLst>
        </pc:spChg>
        <pc:spChg chg="mod">
          <ac:chgData name="Florent Ferizaj" userId="1ac95d67-9df5-47eb-b975-9543de642a3b" providerId="ADAL" clId="{2035A8FE-03FB-427D-B8B6-71890AF85A3C}" dt="2023-10-23T08:31:53.508" v="1042"/>
          <ac:spMkLst>
            <pc:docMk/>
            <pc:sldMk cId="1431153338" sldId="939"/>
            <ac:spMk id="15" creationId="{AA17FBEF-38E8-63CA-95B5-FA87E6EF0DB2}"/>
          </ac:spMkLst>
        </pc:spChg>
        <pc:spChg chg="mod">
          <ac:chgData name="Florent Ferizaj" userId="1ac95d67-9df5-47eb-b975-9543de642a3b" providerId="ADAL" clId="{2035A8FE-03FB-427D-B8B6-71890AF85A3C}" dt="2023-10-23T08:31:53.508" v="1042"/>
          <ac:spMkLst>
            <pc:docMk/>
            <pc:sldMk cId="1431153338" sldId="939"/>
            <ac:spMk id="16" creationId="{D78A6822-3C3A-7795-21EA-B19238D145DD}"/>
          </ac:spMkLst>
        </pc:spChg>
        <pc:spChg chg="mod">
          <ac:chgData name="Florent Ferizaj" userId="1ac95d67-9df5-47eb-b975-9543de642a3b" providerId="ADAL" clId="{2035A8FE-03FB-427D-B8B6-71890AF85A3C}" dt="2023-10-23T08:31:53.508" v="1042"/>
          <ac:spMkLst>
            <pc:docMk/>
            <pc:sldMk cId="1431153338" sldId="939"/>
            <ac:spMk id="20" creationId="{CC456837-62A2-8E63-08EA-5FEC9D8A796D}"/>
          </ac:spMkLst>
        </pc:spChg>
        <pc:spChg chg="mod">
          <ac:chgData name="Florent Ferizaj" userId="1ac95d67-9df5-47eb-b975-9543de642a3b" providerId="ADAL" clId="{2035A8FE-03FB-427D-B8B6-71890AF85A3C}" dt="2023-10-23T08:31:53.508" v="1042"/>
          <ac:spMkLst>
            <pc:docMk/>
            <pc:sldMk cId="1431153338" sldId="939"/>
            <ac:spMk id="21" creationId="{DCF5A8B7-5C67-F32C-EA01-0280D0A955F9}"/>
          </ac:spMkLst>
        </pc:spChg>
        <pc:spChg chg="mod">
          <ac:chgData name="Florent Ferizaj" userId="1ac95d67-9df5-47eb-b975-9543de642a3b" providerId="ADAL" clId="{2035A8FE-03FB-427D-B8B6-71890AF85A3C}" dt="2023-10-23T08:31:53.508" v="1042"/>
          <ac:spMkLst>
            <pc:docMk/>
            <pc:sldMk cId="1431153338" sldId="939"/>
            <ac:spMk id="22" creationId="{6570F216-B415-ECF5-983A-C7C57A9DC1A6}"/>
          </ac:spMkLst>
        </pc:spChg>
        <pc:spChg chg="mod">
          <ac:chgData name="Florent Ferizaj" userId="1ac95d67-9df5-47eb-b975-9543de642a3b" providerId="ADAL" clId="{2035A8FE-03FB-427D-B8B6-71890AF85A3C}" dt="2023-10-23T08:31:53.508" v="1042"/>
          <ac:spMkLst>
            <pc:docMk/>
            <pc:sldMk cId="1431153338" sldId="939"/>
            <ac:spMk id="27" creationId="{FB7C4C27-3045-02D3-0D5F-FD8304C2B95B}"/>
          </ac:spMkLst>
        </pc:spChg>
        <pc:spChg chg="mod">
          <ac:chgData name="Florent Ferizaj" userId="1ac95d67-9df5-47eb-b975-9543de642a3b" providerId="ADAL" clId="{2035A8FE-03FB-427D-B8B6-71890AF85A3C}" dt="2023-10-23T08:31:53.508" v="1042"/>
          <ac:spMkLst>
            <pc:docMk/>
            <pc:sldMk cId="1431153338" sldId="939"/>
            <ac:spMk id="28" creationId="{D514FEE4-385A-3CEB-FD61-4AFFF363EF03}"/>
          </ac:spMkLst>
        </pc:spChg>
        <pc:spChg chg="mod">
          <ac:chgData name="Florent Ferizaj" userId="1ac95d67-9df5-47eb-b975-9543de642a3b" providerId="ADAL" clId="{2035A8FE-03FB-427D-B8B6-71890AF85A3C}" dt="2023-10-23T08:31:53.508" v="1042"/>
          <ac:spMkLst>
            <pc:docMk/>
            <pc:sldMk cId="1431153338" sldId="939"/>
            <ac:spMk id="29" creationId="{A458741A-51C0-669A-9FC6-843D12CD9EB2}"/>
          </ac:spMkLst>
        </pc:spChg>
        <pc:grpChg chg="add del mod">
          <ac:chgData name="Florent Ferizaj" userId="1ac95d67-9df5-47eb-b975-9543de642a3b" providerId="ADAL" clId="{2035A8FE-03FB-427D-B8B6-71890AF85A3C}" dt="2023-10-23T08:31:55.238" v="1043"/>
          <ac:grpSpMkLst>
            <pc:docMk/>
            <pc:sldMk cId="1431153338" sldId="939"/>
            <ac:grpSpMk id="7" creationId="{88D476AE-A214-7179-EBEE-DDFDDB170D61}"/>
          </ac:grpSpMkLst>
        </pc:grpChg>
        <pc:grpChg chg="mod">
          <ac:chgData name="Florent Ferizaj" userId="1ac95d67-9df5-47eb-b975-9543de642a3b" providerId="ADAL" clId="{2035A8FE-03FB-427D-B8B6-71890AF85A3C}" dt="2023-10-23T08:31:53.508" v="1042"/>
          <ac:grpSpMkLst>
            <pc:docMk/>
            <pc:sldMk cId="1431153338" sldId="939"/>
            <ac:grpSpMk id="8" creationId="{30AD01C6-8EAA-8592-AC91-058C5F7E422A}"/>
          </ac:grpSpMkLst>
        </pc:grpChg>
        <pc:grpChg chg="add del mod">
          <ac:chgData name="Florent Ferizaj" userId="1ac95d67-9df5-47eb-b975-9543de642a3b" providerId="ADAL" clId="{2035A8FE-03FB-427D-B8B6-71890AF85A3C}" dt="2023-10-23T08:31:55.238" v="1043"/>
          <ac:grpSpMkLst>
            <pc:docMk/>
            <pc:sldMk cId="1431153338" sldId="939"/>
            <ac:grpSpMk id="12" creationId="{783E92CC-8F94-96E3-7468-7FA8B5E70E26}"/>
          </ac:grpSpMkLst>
        </pc:grpChg>
        <pc:grpChg chg="mod">
          <ac:chgData name="Florent Ferizaj" userId="1ac95d67-9df5-47eb-b975-9543de642a3b" providerId="ADAL" clId="{2035A8FE-03FB-427D-B8B6-71890AF85A3C}" dt="2023-10-23T08:31:53.508" v="1042"/>
          <ac:grpSpMkLst>
            <pc:docMk/>
            <pc:sldMk cId="1431153338" sldId="939"/>
            <ac:grpSpMk id="13" creationId="{D5F1B557-BDAD-5B11-B252-B40A162B1832}"/>
          </ac:grpSpMkLst>
        </pc:grpChg>
        <pc:grpChg chg="add del mod">
          <ac:chgData name="Florent Ferizaj" userId="1ac95d67-9df5-47eb-b975-9543de642a3b" providerId="ADAL" clId="{2035A8FE-03FB-427D-B8B6-71890AF85A3C}" dt="2023-10-23T08:31:55.238" v="1043"/>
          <ac:grpSpMkLst>
            <pc:docMk/>
            <pc:sldMk cId="1431153338" sldId="939"/>
            <ac:grpSpMk id="18" creationId="{102ABC31-B2A4-CEB7-8196-DFAC95E13FF4}"/>
          </ac:grpSpMkLst>
        </pc:grpChg>
        <pc:grpChg chg="mod">
          <ac:chgData name="Florent Ferizaj" userId="1ac95d67-9df5-47eb-b975-9543de642a3b" providerId="ADAL" clId="{2035A8FE-03FB-427D-B8B6-71890AF85A3C}" dt="2023-10-23T08:31:53.508" v="1042"/>
          <ac:grpSpMkLst>
            <pc:docMk/>
            <pc:sldMk cId="1431153338" sldId="939"/>
            <ac:grpSpMk id="19" creationId="{F10DA10C-2853-9365-4F22-777B9E8EE031}"/>
          </ac:grpSpMkLst>
        </pc:grpChg>
        <pc:grpChg chg="add del mod">
          <ac:chgData name="Florent Ferizaj" userId="1ac95d67-9df5-47eb-b975-9543de642a3b" providerId="ADAL" clId="{2035A8FE-03FB-427D-B8B6-71890AF85A3C}" dt="2023-10-23T08:31:55.238" v="1043"/>
          <ac:grpSpMkLst>
            <pc:docMk/>
            <pc:sldMk cId="1431153338" sldId="939"/>
            <ac:grpSpMk id="25" creationId="{11C15EC0-D0A6-7B6D-8FB4-8477EF35AAAA}"/>
          </ac:grpSpMkLst>
        </pc:grpChg>
        <pc:grpChg chg="mod">
          <ac:chgData name="Florent Ferizaj" userId="1ac95d67-9df5-47eb-b975-9543de642a3b" providerId="ADAL" clId="{2035A8FE-03FB-427D-B8B6-71890AF85A3C}" dt="2023-10-23T08:31:53.508" v="1042"/>
          <ac:grpSpMkLst>
            <pc:docMk/>
            <pc:sldMk cId="1431153338" sldId="939"/>
            <ac:grpSpMk id="26" creationId="{3EDA3244-444A-EFFE-39A8-98050C7C7F04}"/>
          </ac:grpSpMkLst>
        </pc:grpChg>
        <pc:picChg chg="add del mod">
          <ac:chgData name="Florent Ferizaj" userId="1ac95d67-9df5-47eb-b975-9543de642a3b" providerId="ADAL" clId="{2035A8FE-03FB-427D-B8B6-71890AF85A3C}" dt="2023-10-23T08:31:55.238" v="1043"/>
          <ac:picMkLst>
            <pc:docMk/>
            <pc:sldMk cId="1431153338" sldId="939"/>
            <ac:picMk id="3" creationId="{F4A16B07-9364-FC92-344E-A324504A3E44}"/>
          </ac:picMkLst>
        </pc:picChg>
        <pc:picChg chg="add del mod">
          <ac:chgData name="Florent Ferizaj" userId="1ac95d67-9df5-47eb-b975-9543de642a3b" providerId="ADAL" clId="{2035A8FE-03FB-427D-B8B6-71890AF85A3C}" dt="2023-10-23T08:31:55.238" v="1043"/>
          <ac:picMkLst>
            <pc:docMk/>
            <pc:sldMk cId="1431153338" sldId="939"/>
            <ac:picMk id="4" creationId="{B9FE0E83-AF5A-89CA-FA3A-BDB745EDE89C}"/>
          </ac:picMkLst>
        </pc:picChg>
        <pc:picChg chg="add del mod">
          <ac:chgData name="Florent Ferizaj" userId="1ac95d67-9df5-47eb-b975-9543de642a3b" providerId="ADAL" clId="{2035A8FE-03FB-427D-B8B6-71890AF85A3C}" dt="2023-10-23T08:31:55.238" v="1043"/>
          <ac:picMkLst>
            <pc:docMk/>
            <pc:sldMk cId="1431153338" sldId="939"/>
            <ac:picMk id="5" creationId="{FFDD02B6-E5A1-F906-BDE9-5D2207A086CF}"/>
          </ac:picMkLst>
        </pc:picChg>
        <pc:picChg chg="add del mod">
          <ac:chgData name="Florent Ferizaj" userId="1ac95d67-9df5-47eb-b975-9543de642a3b" providerId="ADAL" clId="{2035A8FE-03FB-427D-B8B6-71890AF85A3C}" dt="2023-10-23T08:31:55.238" v="1043"/>
          <ac:picMkLst>
            <pc:docMk/>
            <pc:sldMk cId="1431153338" sldId="939"/>
            <ac:picMk id="6" creationId="{18B0E005-61BC-35F8-9138-F399EC165CB2}"/>
          </ac:picMkLst>
        </pc:picChg>
        <pc:cxnChg chg="add del mod">
          <ac:chgData name="Florent Ferizaj" userId="1ac95d67-9df5-47eb-b975-9543de642a3b" providerId="ADAL" clId="{2035A8FE-03FB-427D-B8B6-71890AF85A3C}" dt="2023-10-23T08:31:55.238" v="1043"/>
          <ac:cxnSpMkLst>
            <pc:docMk/>
            <pc:sldMk cId="1431153338" sldId="939"/>
            <ac:cxnSpMk id="17" creationId="{41CF579F-9E3D-007F-CC8F-1B2A1D0CF592}"/>
          </ac:cxnSpMkLst>
        </pc:cxnChg>
        <pc:cxnChg chg="add del mod">
          <ac:chgData name="Florent Ferizaj" userId="1ac95d67-9df5-47eb-b975-9543de642a3b" providerId="ADAL" clId="{2035A8FE-03FB-427D-B8B6-71890AF85A3C}" dt="2023-10-23T08:31:55.238" v="1043"/>
          <ac:cxnSpMkLst>
            <pc:docMk/>
            <pc:sldMk cId="1431153338" sldId="939"/>
            <ac:cxnSpMk id="23" creationId="{89B226E8-97DF-6C59-2329-5840B9E47952}"/>
          </ac:cxnSpMkLst>
        </pc:cxnChg>
        <pc:cxnChg chg="add del mod">
          <ac:chgData name="Florent Ferizaj" userId="1ac95d67-9df5-47eb-b975-9543de642a3b" providerId="ADAL" clId="{2035A8FE-03FB-427D-B8B6-71890AF85A3C}" dt="2023-10-23T08:31:55.238" v="1043"/>
          <ac:cxnSpMkLst>
            <pc:docMk/>
            <pc:sldMk cId="1431153338" sldId="939"/>
            <ac:cxnSpMk id="24" creationId="{6ACBC44D-BFE2-9D68-2C3A-C160987BB0A7}"/>
          </ac:cxnSpMkLst>
        </pc:cxnChg>
      </pc:sldChg>
      <pc:sldChg chg="addSp delSp modSp new mod">
        <pc:chgData name="Florent Ferizaj" userId="1ac95d67-9df5-47eb-b975-9543de642a3b" providerId="ADAL" clId="{2035A8FE-03FB-427D-B8B6-71890AF85A3C}" dt="2023-10-24T06:53:26.807" v="2121" actId="1076"/>
        <pc:sldMkLst>
          <pc:docMk/>
          <pc:sldMk cId="3754917938" sldId="939"/>
        </pc:sldMkLst>
        <pc:spChg chg="add mod">
          <ac:chgData name="Florent Ferizaj" userId="1ac95d67-9df5-47eb-b975-9543de642a3b" providerId="ADAL" clId="{2035A8FE-03FB-427D-B8B6-71890AF85A3C}" dt="2023-10-24T06:53:26.807" v="2121" actId="1076"/>
          <ac:spMkLst>
            <pc:docMk/>
            <pc:sldMk cId="3754917938" sldId="939"/>
            <ac:spMk id="2" creationId="{1DE1F1F5-CCA5-B262-148A-899285723D99}"/>
          </ac:spMkLst>
        </pc:spChg>
        <pc:spChg chg="del">
          <ac:chgData name="Florent Ferizaj" userId="1ac95d67-9df5-47eb-b975-9543de642a3b" providerId="ADAL" clId="{2035A8FE-03FB-427D-B8B6-71890AF85A3C}" dt="2023-10-23T08:32:03.980" v="1047" actId="478"/>
          <ac:spMkLst>
            <pc:docMk/>
            <pc:sldMk cId="3754917938" sldId="939"/>
            <ac:spMk id="2" creationId="{AB16030F-1213-0042-5C2B-62CC62707906}"/>
          </ac:spMkLst>
        </pc:spChg>
        <pc:spChg chg="mod">
          <ac:chgData name="Florent Ferizaj" userId="1ac95d67-9df5-47eb-b975-9543de642a3b" providerId="ADAL" clId="{2035A8FE-03FB-427D-B8B6-71890AF85A3C}" dt="2023-10-23T08:32:05.301" v="1048"/>
          <ac:spMkLst>
            <pc:docMk/>
            <pc:sldMk cId="3754917938" sldId="939"/>
            <ac:spMk id="9" creationId="{F87063F2-48DD-1A89-2976-0FDB3DFBD017}"/>
          </ac:spMkLst>
        </pc:spChg>
        <pc:spChg chg="mod">
          <ac:chgData name="Florent Ferizaj" userId="1ac95d67-9df5-47eb-b975-9543de642a3b" providerId="ADAL" clId="{2035A8FE-03FB-427D-B8B6-71890AF85A3C}" dt="2023-10-23T08:32:05.301" v="1048"/>
          <ac:spMkLst>
            <pc:docMk/>
            <pc:sldMk cId="3754917938" sldId="939"/>
            <ac:spMk id="10" creationId="{A2831DF7-0113-4002-84A5-1F5D73D887B1}"/>
          </ac:spMkLst>
        </pc:spChg>
        <pc:spChg chg="mod">
          <ac:chgData name="Florent Ferizaj" userId="1ac95d67-9df5-47eb-b975-9543de642a3b" providerId="ADAL" clId="{2035A8FE-03FB-427D-B8B6-71890AF85A3C}" dt="2023-10-23T08:32:05.301" v="1048"/>
          <ac:spMkLst>
            <pc:docMk/>
            <pc:sldMk cId="3754917938" sldId="939"/>
            <ac:spMk id="11" creationId="{115AA568-F08E-88D9-C35C-CECF61B6E6CF}"/>
          </ac:spMkLst>
        </pc:spChg>
        <pc:spChg chg="mod">
          <ac:chgData name="Florent Ferizaj" userId="1ac95d67-9df5-47eb-b975-9543de642a3b" providerId="ADAL" clId="{2035A8FE-03FB-427D-B8B6-71890AF85A3C}" dt="2023-10-23T08:32:05.301" v="1048"/>
          <ac:spMkLst>
            <pc:docMk/>
            <pc:sldMk cId="3754917938" sldId="939"/>
            <ac:spMk id="14" creationId="{1CD7911E-1F49-D91E-DE1F-B479AE07FA5B}"/>
          </ac:spMkLst>
        </pc:spChg>
        <pc:spChg chg="mod">
          <ac:chgData name="Florent Ferizaj" userId="1ac95d67-9df5-47eb-b975-9543de642a3b" providerId="ADAL" clId="{2035A8FE-03FB-427D-B8B6-71890AF85A3C}" dt="2023-10-23T08:32:05.301" v="1048"/>
          <ac:spMkLst>
            <pc:docMk/>
            <pc:sldMk cId="3754917938" sldId="939"/>
            <ac:spMk id="15" creationId="{AA845A8A-7AD8-332D-9F2B-1F34392B4DA4}"/>
          </ac:spMkLst>
        </pc:spChg>
        <pc:spChg chg="mod">
          <ac:chgData name="Florent Ferizaj" userId="1ac95d67-9df5-47eb-b975-9543de642a3b" providerId="ADAL" clId="{2035A8FE-03FB-427D-B8B6-71890AF85A3C}" dt="2023-10-23T08:32:05.301" v="1048"/>
          <ac:spMkLst>
            <pc:docMk/>
            <pc:sldMk cId="3754917938" sldId="939"/>
            <ac:spMk id="16" creationId="{3FD9F304-ADFA-E39D-19CC-EEC10FAC410B}"/>
          </ac:spMkLst>
        </pc:spChg>
        <pc:spChg chg="mod">
          <ac:chgData name="Florent Ferizaj" userId="1ac95d67-9df5-47eb-b975-9543de642a3b" providerId="ADAL" clId="{2035A8FE-03FB-427D-B8B6-71890AF85A3C}" dt="2023-10-23T08:32:05.301" v="1048"/>
          <ac:spMkLst>
            <pc:docMk/>
            <pc:sldMk cId="3754917938" sldId="939"/>
            <ac:spMk id="20" creationId="{EA81E28C-DF57-D868-9CF2-02F4A3C07E03}"/>
          </ac:spMkLst>
        </pc:spChg>
        <pc:spChg chg="mod">
          <ac:chgData name="Florent Ferizaj" userId="1ac95d67-9df5-47eb-b975-9543de642a3b" providerId="ADAL" clId="{2035A8FE-03FB-427D-B8B6-71890AF85A3C}" dt="2023-10-23T08:32:05.301" v="1048"/>
          <ac:spMkLst>
            <pc:docMk/>
            <pc:sldMk cId="3754917938" sldId="939"/>
            <ac:spMk id="21" creationId="{87E1E110-FA56-841D-79AD-C9B634C05373}"/>
          </ac:spMkLst>
        </pc:spChg>
        <pc:spChg chg="mod">
          <ac:chgData name="Florent Ferizaj" userId="1ac95d67-9df5-47eb-b975-9543de642a3b" providerId="ADAL" clId="{2035A8FE-03FB-427D-B8B6-71890AF85A3C}" dt="2023-10-23T08:32:05.301" v="1048"/>
          <ac:spMkLst>
            <pc:docMk/>
            <pc:sldMk cId="3754917938" sldId="939"/>
            <ac:spMk id="22" creationId="{B7546359-4CDF-2024-EA16-EE0440ECD145}"/>
          </ac:spMkLst>
        </pc:spChg>
        <pc:spChg chg="mod">
          <ac:chgData name="Florent Ferizaj" userId="1ac95d67-9df5-47eb-b975-9543de642a3b" providerId="ADAL" clId="{2035A8FE-03FB-427D-B8B6-71890AF85A3C}" dt="2023-10-23T08:32:05.301" v="1048"/>
          <ac:spMkLst>
            <pc:docMk/>
            <pc:sldMk cId="3754917938" sldId="939"/>
            <ac:spMk id="27" creationId="{F272BF83-0DB0-2BFE-5B11-29A66B538BF7}"/>
          </ac:spMkLst>
        </pc:spChg>
        <pc:spChg chg="mod">
          <ac:chgData name="Florent Ferizaj" userId="1ac95d67-9df5-47eb-b975-9543de642a3b" providerId="ADAL" clId="{2035A8FE-03FB-427D-B8B6-71890AF85A3C}" dt="2023-10-23T08:32:05.301" v="1048"/>
          <ac:spMkLst>
            <pc:docMk/>
            <pc:sldMk cId="3754917938" sldId="939"/>
            <ac:spMk id="28" creationId="{D0F15156-017E-558E-46A2-8C2329ADF2AE}"/>
          </ac:spMkLst>
        </pc:spChg>
        <pc:spChg chg="mod">
          <ac:chgData name="Florent Ferizaj" userId="1ac95d67-9df5-47eb-b975-9543de642a3b" providerId="ADAL" clId="{2035A8FE-03FB-427D-B8B6-71890AF85A3C}" dt="2023-10-23T08:32:05.301" v="1048"/>
          <ac:spMkLst>
            <pc:docMk/>
            <pc:sldMk cId="3754917938" sldId="939"/>
            <ac:spMk id="29" creationId="{B9890D35-B1F8-1949-EABD-823F2CAEEBF2}"/>
          </ac:spMkLst>
        </pc:spChg>
        <pc:spChg chg="add del mod ord">
          <ac:chgData name="Florent Ferizaj" userId="1ac95d67-9df5-47eb-b975-9543de642a3b" providerId="ADAL" clId="{2035A8FE-03FB-427D-B8B6-71890AF85A3C}" dt="2023-10-23T08:32:26.303" v="1058" actId="11529"/>
          <ac:spMkLst>
            <pc:docMk/>
            <pc:sldMk cId="3754917938" sldId="939"/>
            <ac:spMk id="30" creationId="{48C22156-F13C-E750-4980-64AC53913D98}"/>
          </ac:spMkLst>
        </pc:spChg>
        <pc:grpChg chg="add mod">
          <ac:chgData name="Florent Ferizaj" userId="1ac95d67-9df5-47eb-b975-9543de642a3b" providerId="ADAL" clId="{2035A8FE-03FB-427D-B8B6-71890AF85A3C}" dt="2023-10-23T08:32:55.951" v="1064" actId="14100"/>
          <ac:grpSpMkLst>
            <pc:docMk/>
            <pc:sldMk cId="3754917938" sldId="939"/>
            <ac:grpSpMk id="7" creationId="{3D9F93E1-39A3-236F-75CA-C9231FA7A471}"/>
          </ac:grpSpMkLst>
        </pc:grpChg>
        <pc:grpChg chg="mod">
          <ac:chgData name="Florent Ferizaj" userId="1ac95d67-9df5-47eb-b975-9543de642a3b" providerId="ADAL" clId="{2035A8FE-03FB-427D-B8B6-71890AF85A3C}" dt="2023-10-23T08:32:05.301" v="1048"/>
          <ac:grpSpMkLst>
            <pc:docMk/>
            <pc:sldMk cId="3754917938" sldId="939"/>
            <ac:grpSpMk id="8" creationId="{EC03DCF5-7DAE-2E2E-21BE-DE32253C6876}"/>
          </ac:grpSpMkLst>
        </pc:grpChg>
        <pc:grpChg chg="add mod">
          <ac:chgData name="Florent Ferizaj" userId="1ac95d67-9df5-47eb-b975-9543de642a3b" providerId="ADAL" clId="{2035A8FE-03FB-427D-B8B6-71890AF85A3C}" dt="2023-10-23T08:32:55.951" v="1064" actId="14100"/>
          <ac:grpSpMkLst>
            <pc:docMk/>
            <pc:sldMk cId="3754917938" sldId="939"/>
            <ac:grpSpMk id="12" creationId="{2BB94050-7EE6-4B9A-03F8-7A6F94611796}"/>
          </ac:grpSpMkLst>
        </pc:grpChg>
        <pc:grpChg chg="mod">
          <ac:chgData name="Florent Ferizaj" userId="1ac95d67-9df5-47eb-b975-9543de642a3b" providerId="ADAL" clId="{2035A8FE-03FB-427D-B8B6-71890AF85A3C}" dt="2023-10-23T08:32:05.301" v="1048"/>
          <ac:grpSpMkLst>
            <pc:docMk/>
            <pc:sldMk cId="3754917938" sldId="939"/>
            <ac:grpSpMk id="13" creationId="{02282B0A-B42E-921F-5ED8-66E11CDC0529}"/>
          </ac:grpSpMkLst>
        </pc:grpChg>
        <pc:grpChg chg="add mod">
          <ac:chgData name="Florent Ferizaj" userId="1ac95d67-9df5-47eb-b975-9543de642a3b" providerId="ADAL" clId="{2035A8FE-03FB-427D-B8B6-71890AF85A3C}" dt="2023-10-23T08:32:55.951" v="1064" actId="14100"/>
          <ac:grpSpMkLst>
            <pc:docMk/>
            <pc:sldMk cId="3754917938" sldId="939"/>
            <ac:grpSpMk id="18" creationId="{1F900AE4-ADCD-4DB9-8D57-B6DC69D7C7CE}"/>
          </ac:grpSpMkLst>
        </pc:grpChg>
        <pc:grpChg chg="mod">
          <ac:chgData name="Florent Ferizaj" userId="1ac95d67-9df5-47eb-b975-9543de642a3b" providerId="ADAL" clId="{2035A8FE-03FB-427D-B8B6-71890AF85A3C}" dt="2023-10-23T08:32:05.301" v="1048"/>
          <ac:grpSpMkLst>
            <pc:docMk/>
            <pc:sldMk cId="3754917938" sldId="939"/>
            <ac:grpSpMk id="19" creationId="{8BADE25B-937C-C687-FFFE-1FCE79DA581A}"/>
          </ac:grpSpMkLst>
        </pc:grpChg>
        <pc:grpChg chg="add mod">
          <ac:chgData name="Florent Ferizaj" userId="1ac95d67-9df5-47eb-b975-9543de642a3b" providerId="ADAL" clId="{2035A8FE-03FB-427D-B8B6-71890AF85A3C}" dt="2023-10-23T08:32:55.951" v="1064" actId="14100"/>
          <ac:grpSpMkLst>
            <pc:docMk/>
            <pc:sldMk cId="3754917938" sldId="939"/>
            <ac:grpSpMk id="25" creationId="{37D0B9E5-5FA6-6E38-D834-D61C5D955229}"/>
          </ac:grpSpMkLst>
        </pc:grpChg>
        <pc:grpChg chg="mod">
          <ac:chgData name="Florent Ferizaj" userId="1ac95d67-9df5-47eb-b975-9543de642a3b" providerId="ADAL" clId="{2035A8FE-03FB-427D-B8B6-71890AF85A3C}" dt="2023-10-23T08:32:05.301" v="1048"/>
          <ac:grpSpMkLst>
            <pc:docMk/>
            <pc:sldMk cId="3754917938" sldId="939"/>
            <ac:grpSpMk id="26" creationId="{48529C9A-4927-9986-4E75-33254DEF20F9}"/>
          </ac:grpSpMkLst>
        </pc:grpChg>
        <pc:picChg chg="add mod">
          <ac:chgData name="Florent Ferizaj" userId="1ac95d67-9df5-47eb-b975-9543de642a3b" providerId="ADAL" clId="{2035A8FE-03FB-427D-B8B6-71890AF85A3C}" dt="2023-10-23T08:32:55.951" v="1064" actId="14100"/>
          <ac:picMkLst>
            <pc:docMk/>
            <pc:sldMk cId="3754917938" sldId="939"/>
            <ac:picMk id="3" creationId="{156C8E57-434F-3E6D-2663-42FA7F09B2DB}"/>
          </ac:picMkLst>
        </pc:picChg>
        <pc:picChg chg="add mod">
          <ac:chgData name="Florent Ferizaj" userId="1ac95d67-9df5-47eb-b975-9543de642a3b" providerId="ADAL" clId="{2035A8FE-03FB-427D-B8B6-71890AF85A3C}" dt="2023-10-23T08:32:55.951" v="1064" actId="14100"/>
          <ac:picMkLst>
            <pc:docMk/>
            <pc:sldMk cId="3754917938" sldId="939"/>
            <ac:picMk id="4" creationId="{30C55EFB-9D2C-4579-7B1F-AE2AF5413CB3}"/>
          </ac:picMkLst>
        </pc:picChg>
        <pc:picChg chg="add mod">
          <ac:chgData name="Florent Ferizaj" userId="1ac95d67-9df5-47eb-b975-9543de642a3b" providerId="ADAL" clId="{2035A8FE-03FB-427D-B8B6-71890AF85A3C}" dt="2023-10-23T08:32:55.951" v="1064" actId="14100"/>
          <ac:picMkLst>
            <pc:docMk/>
            <pc:sldMk cId="3754917938" sldId="939"/>
            <ac:picMk id="5" creationId="{29E8F809-02B5-C4E6-BB22-E9C559990D3B}"/>
          </ac:picMkLst>
        </pc:picChg>
        <pc:picChg chg="add mod">
          <ac:chgData name="Florent Ferizaj" userId="1ac95d67-9df5-47eb-b975-9543de642a3b" providerId="ADAL" clId="{2035A8FE-03FB-427D-B8B6-71890AF85A3C}" dt="2023-10-23T08:32:55.951" v="1064" actId="14100"/>
          <ac:picMkLst>
            <pc:docMk/>
            <pc:sldMk cId="3754917938" sldId="939"/>
            <ac:picMk id="6" creationId="{22FA310C-4F02-A5D2-A333-341DA9431FBF}"/>
          </ac:picMkLst>
        </pc:picChg>
        <pc:cxnChg chg="add mod">
          <ac:chgData name="Florent Ferizaj" userId="1ac95d67-9df5-47eb-b975-9543de642a3b" providerId="ADAL" clId="{2035A8FE-03FB-427D-B8B6-71890AF85A3C}" dt="2023-10-23T08:32:55.951" v="1064" actId="14100"/>
          <ac:cxnSpMkLst>
            <pc:docMk/>
            <pc:sldMk cId="3754917938" sldId="939"/>
            <ac:cxnSpMk id="17" creationId="{2B5FE90B-68C4-7A1B-4F69-8EF3E1CBFBE1}"/>
          </ac:cxnSpMkLst>
        </pc:cxnChg>
        <pc:cxnChg chg="add mod">
          <ac:chgData name="Florent Ferizaj" userId="1ac95d67-9df5-47eb-b975-9543de642a3b" providerId="ADAL" clId="{2035A8FE-03FB-427D-B8B6-71890AF85A3C}" dt="2023-10-23T08:32:55.951" v="1064" actId="14100"/>
          <ac:cxnSpMkLst>
            <pc:docMk/>
            <pc:sldMk cId="3754917938" sldId="939"/>
            <ac:cxnSpMk id="23" creationId="{78445E81-9FEB-824A-60C3-E6C1F8C2EC3C}"/>
          </ac:cxnSpMkLst>
        </pc:cxnChg>
        <pc:cxnChg chg="add mod">
          <ac:chgData name="Florent Ferizaj" userId="1ac95d67-9df5-47eb-b975-9543de642a3b" providerId="ADAL" clId="{2035A8FE-03FB-427D-B8B6-71890AF85A3C}" dt="2023-10-23T08:32:55.951" v="1064" actId="14100"/>
          <ac:cxnSpMkLst>
            <pc:docMk/>
            <pc:sldMk cId="3754917938" sldId="939"/>
            <ac:cxnSpMk id="24" creationId="{2B3205E3-F96F-95D9-AA97-02A2522657AF}"/>
          </ac:cxnSpMkLst>
        </pc:cxnChg>
      </pc:sldChg>
      <pc:sldChg chg="addSp delSp modSp new del mod">
        <pc:chgData name="Florent Ferizaj" userId="1ac95d67-9df5-47eb-b975-9543de642a3b" providerId="ADAL" clId="{2035A8FE-03FB-427D-B8B6-71890AF85A3C}" dt="2023-10-23T08:35:18.430" v="1088" actId="680"/>
        <pc:sldMkLst>
          <pc:docMk/>
          <pc:sldMk cId="619178641" sldId="940"/>
        </pc:sldMkLst>
        <pc:spChg chg="add del">
          <ac:chgData name="Florent Ferizaj" userId="1ac95d67-9df5-47eb-b975-9543de642a3b" providerId="ADAL" clId="{2035A8FE-03FB-427D-B8B6-71890AF85A3C}" dt="2023-10-23T08:35:17.259" v="1086" actId="478"/>
          <ac:spMkLst>
            <pc:docMk/>
            <pc:sldMk cId="619178641" sldId="940"/>
            <ac:spMk id="2" creationId="{ED37A54F-2A6B-05C3-0289-CF33945B08D3}"/>
          </ac:spMkLst>
        </pc:spChg>
        <pc:spChg chg="mod">
          <ac:chgData name="Florent Ferizaj" userId="1ac95d67-9df5-47eb-b975-9543de642a3b" providerId="ADAL" clId="{2035A8FE-03FB-427D-B8B6-71890AF85A3C}" dt="2023-10-23T08:33:11.185" v="1068"/>
          <ac:spMkLst>
            <pc:docMk/>
            <pc:sldMk cId="619178641" sldId="940"/>
            <ac:spMk id="4" creationId="{2AC731D9-BDA8-4996-13A8-47A955435B1E}"/>
          </ac:spMkLst>
        </pc:spChg>
        <pc:spChg chg="mod">
          <ac:chgData name="Florent Ferizaj" userId="1ac95d67-9df5-47eb-b975-9543de642a3b" providerId="ADAL" clId="{2035A8FE-03FB-427D-B8B6-71890AF85A3C}" dt="2023-10-23T08:33:11.185" v="1068"/>
          <ac:spMkLst>
            <pc:docMk/>
            <pc:sldMk cId="619178641" sldId="940"/>
            <ac:spMk id="5" creationId="{1F79324F-D22E-4419-0144-1FC352A4CE78}"/>
          </ac:spMkLst>
        </pc:spChg>
        <pc:spChg chg="add del mod">
          <ac:chgData name="Florent Ferizaj" userId="1ac95d67-9df5-47eb-b975-9543de642a3b" providerId="ADAL" clId="{2035A8FE-03FB-427D-B8B6-71890AF85A3C}" dt="2023-10-23T08:35:16.328" v="1085"/>
          <ac:spMkLst>
            <pc:docMk/>
            <pc:sldMk cId="619178641" sldId="940"/>
            <ac:spMk id="6" creationId="{025922F2-3FCE-DC0A-CB67-DB99F0D83C07}"/>
          </ac:spMkLst>
        </pc:spChg>
        <pc:spChg chg="add del mod">
          <ac:chgData name="Florent Ferizaj" userId="1ac95d67-9df5-47eb-b975-9543de642a3b" providerId="ADAL" clId="{2035A8FE-03FB-427D-B8B6-71890AF85A3C}" dt="2023-10-23T08:35:16.328" v="1085"/>
          <ac:spMkLst>
            <pc:docMk/>
            <pc:sldMk cId="619178641" sldId="940"/>
            <ac:spMk id="7" creationId="{A7140280-A5ED-97ED-23BB-052C57F27F99}"/>
          </ac:spMkLst>
        </pc:spChg>
        <pc:spChg chg="add del mod">
          <ac:chgData name="Florent Ferizaj" userId="1ac95d67-9df5-47eb-b975-9543de642a3b" providerId="ADAL" clId="{2035A8FE-03FB-427D-B8B6-71890AF85A3C}" dt="2023-10-23T08:35:16.328" v="1085"/>
          <ac:spMkLst>
            <pc:docMk/>
            <pc:sldMk cId="619178641" sldId="940"/>
            <ac:spMk id="8" creationId="{DA21618A-2708-7F11-9B58-6EF1563D555F}"/>
          </ac:spMkLst>
        </pc:spChg>
        <pc:spChg chg="add del mod">
          <ac:chgData name="Florent Ferizaj" userId="1ac95d67-9df5-47eb-b975-9543de642a3b" providerId="ADAL" clId="{2035A8FE-03FB-427D-B8B6-71890AF85A3C}" dt="2023-10-23T08:35:16.328" v="1085"/>
          <ac:spMkLst>
            <pc:docMk/>
            <pc:sldMk cId="619178641" sldId="940"/>
            <ac:spMk id="9" creationId="{4CD9B3D0-6BDE-45B5-B599-0CD6E2322D8C}"/>
          </ac:spMkLst>
        </pc:spChg>
        <pc:spChg chg="add del mod">
          <ac:chgData name="Florent Ferizaj" userId="1ac95d67-9df5-47eb-b975-9543de642a3b" providerId="ADAL" clId="{2035A8FE-03FB-427D-B8B6-71890AF85A3C}" dt="2023-10-23T08:35:16.328" v="1085"/>
          <ac:spMkLst>
            <pc:docMk/>
            <pc:sldMk cId="619178641" sldId="940"/>
            <ac:spMk id="10" creationId="{DDB32C05-84DB-A545-1594-66FC7E00A035}"/>
          </ac:spMkLst>
        </pc:spChg>
        <pc:spChg chg="add del mod">
          <ac:chgData name="Florent Ferizaj" userId="1ac95d67-9df5-47eb-b975-9543de642a3b" providerId="ADAL" clId="{2035A8FE-03FB-427D-B8B6-71890AF85A3C}" dt="2023-10-23T08:35:16.328" v="1085"/>
          <ac:spMkLst>
            <pc:docMk/>
            <pc:sldMk cId="619178641" sldId="940"/>
            <ac:spMk id="11" creationId="{8CBE99B5-3591-BB71-9305-1F9846159D39}"/>
          </ac:spMkLst>
        </pc:spChg>
        <pc:spChg chg="add del mod">
          <ac:chgData name="Florent Ferizaj" userId="1ac95d67-9df5-47eb-b975-9543de642a3b" providerId="ADAL" clId="{2035A8FE-03FB-427D-B8B6-71890AF85A3C}" dt="2023-10-23T08:35:16.328" v="1085"/>
          <ac:spMkLst>
            <pc:docMk/>
            <pc:sldMk cId="619178641" sldId="940"/>
            <ac:spMk id="12" creationId="{020A329B-F362-73F8-7121-8FF6B2E4FE95}"/>
          </ac:spMkLst>
        </pc:spChg>
        <pc:spChg chg="add del mod">
          <ac:chgData name="Florent Ferizaj" userId="1ac95d67-9df5-47eb-b975-9543de642a3b" providerId="ADAL" clId="{2035A8FE-03FB-427D-B8B6-71890AF85A3C}" dt="2023-10-23T08:35:16.328" v="1085"/>
          <ac:spMkLst>
            <pc:docMk/>
            <pc:sldMk cId="619178641" sldId="940"/>
            <ac:spMk id="13" creationId="{89381FDA-8814-B7F6-729C-2029BD0F5070}"/>
          </ac:spMkLst>
        </pc:spChg>
        <pc:spChg chg="add del mod">
          <ac:chgData name="Florent Ferizaj" userId="1ac95d67-9df5-47eb-b975-9543de642a3b" providerId="ADAL" clId="{2035A8FE-03FB-427D-B8B6-71890AF85A3C}" dt="2023-10-23T08:35:16.328" v="1085"/>
          <ac:spMkLst>
            <pc:docMk/>
            <pc:sldMk cId="619178641" sldId="940"/>
            <ac:spMk id="14" creationId="{83575E7D-311A-FFD4-B0FB-77E7FB04B546}"/>
          </ac:spMkLst>
        </pc:spChg>
        <pc:spChg chg="add del mod">
          <ac:chgData name="Florent Ferizaj" userId="1ac95d67-9df5-47eb-b975-9543de642a3b" providerId="ADAL" clId="{2035A8FE-03FB-427D-B8B6-71890AF85A3C}" dt="2023-10-23T08:35:16.328" v="1085"/>
          <ac:spMkLst>
            <pc:docMk/>
            <pc:sldMk cId="619178641" sldId="940"/>
            <ac:spMk id="15" creationId="{FAF45499-8DF4-D431-3362-B88BC9CDA4BE}"/>
          </ac:spMkLst>
        </pc:spChg>
        <pc:grpChg chg="add del mod">
          <ac:chgData name="Florent Ferizaj" userId="1ac95d67-9df5-47eb-b975-9543de642a3b" providerId="ADAL" clId="{2035A8FE-03FB-427D-B8B6-71890AF85A3C}" dt="2023-10-23T08:35:16.328" v="1085"/>
          <ac:grpSpMkLst>
            <pc:docMk/>
            <pc:sldMk cId="619178641" sldId="940"/>
            <ac:grpSpMk id="3" creationId="{A30CAC49-1E9A-81E0-9ED8-41FA7D2ADEC6}"/>
          </ac:grpSpMkLst>
        </pc:grpChg>
      </pc:sldChg>
      <pc:sldChg chg="addSp delSp modSp new del mod">
        <pc:chgData name="Florent Ferizaj" userId="1ac95d67-9df5-47eb-b975-9543de642a3b" providerId="ADAL" clId="{2035A8FE-03FB-427D-B8B6-71890AF85A3C}" dt="2023-10-23T08:36:18.236" v="1114" actId="680"/>
        <pc:sldMkLst>
          <pc:docMk/>
          <pc:sldMk cId="808410597" sldId="940"/>
        </pc:sldMkLst>
        <pc:spChg chg="add del">
          <ac:chgData name="Florent Ferizaj" userId="1ac95d67-9df5-47eb-b975-9543de642a3b" providerId="ADAL" clId="{2035A8FE-03FB-427D-B8B6-71890AF85A3C}" dt="2023-10-23T08:36:17.677" v="1113" actId="478"/>
          <ac:spMkLst>
            <pc:docMk/>
            <pc:sldMk cId="808410597" sldId="940"/>
            <ac:spMk id="2" creationId="{0E68620E-899D-EDD5-A19C-42FA94D6A79A}"/>
          </ac:spMkLst>
        </pc:spChg>
        <pc:spChg chg="mod topLvl">
          <ac:chgData name="Florent Ferizaj" userId="1ac95d67-9df5-47eb-b975-9543de642a3b" providerId="ADAL" clId="{2035A8FE-03FB-427D-B8B6-71890AF85A3C}" dt="2023-10-23T08:36:16.450" v="1110" actId="165"/>
          <ac:spMkLst>
            <pc:docMk/>
            <pc:sldMk cId="808410597" sldId="940"/>
            <ac:spMk id="5" creationId="{06715463-5729-D595-10B2-DE726B8D2F4D}"/>
          </ac:spMkLst>
        </pc:spChg>
        <pc:spChg chg="mod topLvl">
          <ac:chgData name="Florent Ferizaj" userId="1ac95d67-9df5-47eb-b975-9543de642a3b" providerId="ADAL" clId="{2035A8FE-03FB-427D-B8B6-71890AF85A3C}" dt="2023-10-23T08:36:16.450" v="1110" actId="165"/>
          <ac:spMkLst>
            <pc:docMk/>
            <pc:sldMk cId="808410597" sldId="940"/>
            <ac:spMk id="6" creationId="{812196AC-3959-9E06-0CEE-777581D11A14}"/>
          </ac:spMkLst>
        </pc:spChg>
        <pc:spChg chg="mod topLvl">
          <ac:chgData name="Florent Ferizaj" userId="1ac95d67-9df5-47eb-b975-9543de642a3b" providerId="ADAL" clId="{2035A8FE-03FB-427D-B8B6-71890AF85A3C}" dt="2023-10-23T08:36:16.450" v="1110" actId="165"/>
          <ac:spMkLst>
            <pc:docMk/>
            <pc:sldMk cId="808410597" sldId="940"/>
            <ac:spMk id="7" creationId="{C86FF467-F91E-738C-07C5-0A1981022B43}"/>
          </ac:spMkLst>
        </pc:spChg>
        <pc:spChg chg="mod topLvl">
          <ac:chgData name="Florent Ferizaj" userId="1ac95d67-9df5-47eb-b975-9543de642a3b" providerId="ADAL" clId="{2035A8FE-03FB-427D-B8B6-71890AF85A3C}" dt="2023-10-23T08:36:16.450" v="1110" actId="165"/>
          <ac:spMkLst>
            <pc:docMk/>
            <pc:sldMk cId="808410597" sldId="940"/>
            <ac:spMk id="8" creationId="{D363CE1D-445B-6878-3EC1-B3B8EB5826B2}"/>
          </ac:spMkLst>
        </pc:spChg>
        <pc:spChg chg="mod topLvl">
          <ac:chgData name="Florent Ferizaj" userId="1ac95d67-9df5-47eb-b975-9543de642a3b" providerId="ADAL" clId="{2035A8FE-03FB-427D-B8B6-71890AF85A3C}" dt="2023-10-23T08:36:16.450" v="1110" actId="165"/>
          <ac:spMkLst>
            <pc:docMk/>
            <pc:sldMk cId="808410597" sldId="940"/>
            <ac:spMk id="9" creationId="{D60CA521-8E55-5331-7531-9A6BD5ABE1C6}"/>
          </ac:spMkLst>
        </pc:spChg>
        <pc:spChg chg="mod topLvl">
          <ac:chgData name="Florent Ferizaj" userId="1ac95d67-9df5-47eb-b975-9543de642a3b" providerId="ADAL" clId="{2035A8FE-03FB-427D-B8B6-71890AF85A3C}" dt="2023-10-23T08:36:16.450" v="1110" actId="165"/>
          <ac:spMkLst>
            <pc:docMk/>
            <pc:sldMk cId="808410597" sldId="940"/>
            <ac:spMk id="10" creationId="{2C340F8A-6CF9-2223-A199-05227BC6F5F6}"/>
          </ac:spMkLst>
        </pc:spChg>
        <pc:spChg chg="mod topLvl">
          <ac:chgData name="Florent Ferizaj" userId="1ac95d67-9df5-47eb-b975-9543de642a3b" providerId="ADAL" clId="{2035A8FE-03FB-427D-B8B6-71890AF85A3C}" dt="2023-10-23T08:36:16.450" v="1110" actId="165"/>
          <ac:spMkLst>
            <pc:docMk/>
            <pc:sldMk cId="808410597" sldId="940"/>
            <ac:spMk id="11" creationId="{A884C107-FC40-45F0-9C19-8630A4271B17}"/>
          </ac:spMkLst>
        </pc:spChg>
        <pc:spChg chg="mod topLvl">
          <ac:chgData name="Florent Ferizaj" userId="1ac95d67-9df5-47eb-b975-9543de642a3b" providerId="ADAL" clId="{2035A8FE-03FB-427D-B8B6-71890AF85A3C}" dt="2023-10-23T08:36:16.450" v="1110" actId="165"/>
          <ac:spMkLst>
            <pc:docMk/>
            <pc:sldMk cId="808410597" sldId="940"/>
            <ac:spMk id="12" creationId="{0F947CC6-8137-EAC3-EDB1-B603E7099243}"/>
          </ac:spMkLst>
        </pc:spChg>
        <pc:spChg chg="mod topLvl">
          <ac:chgData name="Florent Ferizaj" userId="1ac95d67-9df5-47eb-b975-9543de642a3b" providerId="ADAL" clId="{2035A8FE-03FB-427D-B8B6-71890AF85A3C}" dt="2023-10-23T08:36:16.450" v="1110" actId="165"/>
          <ac:spMkLst>
            <pc:docMk/>
            <pc:sldMk cId="808410597" sldId="940"/>
            <ac:spMk id="13" creationId="{5E216814-1D65-7678-546C-089403921C99}"/>
          </ac:spMkLst>
        </pc:spChg>
        <pc:spChg chg="mod topLvl">
          <ac:chgData name="Florent Ferizaj" userId="1ac95d67-9df5-47eb-b975-9543de642a3b" providerId="ADAL" clId="{2035A8FE-03FB-427D-B8B6-71890AF85A3C}" dt="2023-10-23T08:36:16.450" v="1110" actId="165"/>
          <ac:spMkLst>
            <pc:docMk/>
            <pc:sldMk cId="808410597" sldId="940"/>
            <ac:spMk id="14" creationId="{3E6D34CD-81D5-FD61-376E-F53D1E6CBEE3}"/>
          </ac:spMkLst>
        </pc:spChg>
        <pc:spChg chg="mod topLvl">
          <ac:chgData name="Florent Ferizaj" userId="1ac95d67-9df5-47eb-b975-9543de642a3b" providerId="ADAL" clId="{2035A8FE-03FB-427D-B8B6-71890AF85A3C}" dt="2023-10-23T08:36:16.450" v="1110" actId="165"/>
          <ac:spMkLst>
            <pc:docMk/>
            <pc:sldMk cId="808410597" sldId="940"/>
            <ac:spMk id="15" creationId="{F6967D5B-BAEF-8FCE-8DC2-9CD7B595FE4D}"/>
          </ac:spMkLst>
        </pc:spChg>
        <pc:spChg chg="mod">
          <ac:chgData name="Florent Ferizaj" userId="1ac95d67-9df5-47eb-b975-9543de642a3b" providerId="ADAL" clId="{2035A8FE-03FB-427D-B8B6-71890AF85A3C}" dt="2023-10-23T08:36:16.450" v="1110" actId="165"/>
          <ac:spMkLst>
            <pc:docMk/>
            <pc:sldMk cId="808410597" sldId="940"/>
            <ac:spMk id="16" creationId="{F63E6FFC-1D3E-7A55-6BAF-0C05EEB6392F}"/>
          </ac:spMkLst>
        </pc:spChg>
        <pc:spChg chg="mod">
          <ac:chgData name="Florent Ferizaj" userId="1ac95d67-9df5-47eb-b975-9543de642a3b" providerId="ADAL" clId="{2035A8FE-03FB-427D-B8B6-71890AF85A3C}" dt="2023-10-23T08:36:16.450" v="1110" actId="165"/>
          <ac:spMkLst>
            <pc:docMk/>
            <pc:sldMk cId="808410597" sldId="940"/>
            <ac:spMk id="17" creationId="{292B77BC-5B2B-4B3D-DE0F-630D471A06C0}"/>
          </ac:spMkLst>
        </pc:spChg>
        <pc:grpChg chg="add del mod">
          <ac:chgData name="Florent Ferizaj" userId="1ac95d67-9df5-47eb-b975-9543de642a3b" providerId="ADAL" clId="{2035A8FE-03FB-427D-B8B6-71890AF85A3C}" dt="2023-10-23T08:36:17.071" v="1112"/>
          <ac:grpSpMkLst>
            <pc:docMk/>
            <pc:sldMk cId="808410597" sldId="940"/>
            <ac:grpSpMk id="3" creationId="{3D9EB226-54E5-0873-2393-8FF224025902}"/>
          </ac:grpSpMkLst>
        </pc:grpChg>
        <pc:grpChg chg="mod topLvl">
          <ac:chgData name="Florent Ferizaj" userId="1ac95d67-9df5-47eb-b975-9543de642a3b" providerId="ADAL" clId="{2035A8FE-03FB-427D-B8B6-71890AF85A3C}" dt="2023-10-23T08:36:16.450" v="1110" actId="165"/>
          <ac:grpSpMkLst>
            <pc:docMk/>
            <pc:sldMk cId="808410597" sldId="940"/>
            <ac:grpSpMk id="4" creationId="{7C78E743-38B6-563A-C249-93DCBD40F67A}"/>
          </ac:grpSpMkLst>
        </pc:grpChg>
      </pc:sldChg>
      <pc:sldChg chg="addSp delSp modSp new mod">
        <pc:chgData name="Florent Ferizaj" userId="1ac95d67-9df5-47eb-b975-9543de642a3b" providerId="ADAL" clId="{2035A8FE-03FB-427D-B8B6-71890AF85A3C}" dt="2023-10-23T08:39:47.769" v="1264" actId="207"/>
        <pc:sldMkLst>
          <pc:docMk/>
          <pc:sldMk cId="3451801758" sldId="940"/>
        </pc:sldMkLst>
        <pc:spChg chg="del">
          <ac:chgData name="Florent Ferizaj" userId="1ac95d67-9df5-47eb-b975-9543de642a3b" providerId="ADAL" clId="{2035A8FE-03FB-427D-B8B6-71890AF85A3C}" dt="2023-10-23T08:37:07.979" v="1171" actId="478"/>
          <ac:spMkLst>
            <pc:docMk/>
            <pc:sldMk cId="3451801758" sldId="940"/>
            <ac:spMk id="2" creationId="{15B610A2-2657-1CE3-FA43-796B626D58C6}"/>
          </ac:spMkLst>
        </pc:spChg>
        <pc:spChg chg="mod topLvl">
          <ac:chgData name="Florent Ferizaj" userId="1ac95d67-9df5-47eb-b975-9543de642a3b" providerId="ADAL" clId="{2035A8FE-03FB-427D-B8B6-71890AF85A3C}" dt="2023-10-23T08:39:40.947" v="1262" actId="207"/>
          <ac:spMkLst>
            <pc:docMk/>
            <pc:sldMk cId="3451801758" sldId="940"/>
            <ac:spMk id="5" creationId="{68F41247-C300-2913-046A-796E4DB88492}"/>
          </ac:spMkLst>
        </pc:spChg>
        <pc:spChg chg="mod topLvl">
          <ac:chgData name="Florent Ferizaj" userId="1ac95d67-9df5-47eb-b975-9543de642a3b" providerId="ADAL" clId="{2035A8FE-03FB-427D-B8B6-71890AF85A3C}" dt="2023-10-23T08:39:24.910" v="1257" actId="165"/>
          <ac:spMkLst>
            <pc:docMk/>
            <pc:sldMk cId="3451801758" sldId="940"/>
            <ac:spMk id="6" creationId="{7B34E317-C285-5240-F5D7-CF0A2C664AB1}"/>
          </ac:spMkLst>
        </pc:spChg>
        <pc:spChg chg="mod topLvl">
          <ac:chgData name="Florent Ferizaj" userId="1ac95d67-9df5-47eb-b975-9543de642a3b" providerId="ADAL" clId="{2035A8FE-03FB-427D-B8B6-71890AF85A3C}" dt="2023-10-23T08:39:38.842" v="1261" actId="207"/>
          <ac:spMkLst>
            <pc:docMk/>
            <pc:sldMk cId="3451801758" sldId="940"/>
            <ac:spMk id="7" creationId="{8CD39ECB-280A-91A2-2323-058DE26DEF2B}"/>
          </ac:spMkLst>
        </pc:spChg>
        <pc:spChg chg="mod topLvl">
          <ac:chgData name="Florent Ferizaj" userId="1ac95d67-9df5-47eb-b975-9543de642a3b" providerId="ADAL" clId="{2035A8FE-03FB-427D-B8B6-71890AF85A3C}" dt="2023-10-23T08:39:34.089" v="1260" actId="207"/>
          <ac:spMkLst>
            <pc:docMk/>
            <pc:sldMk cId="3451801758" sldId="940"/>
            <ac:spMk id="8" creationId="{D0C1EDC0-23AF-7F26-56BC-262CBF311815}"/>
          </ac:spMkLst>
        </pc:spChg>
        <pc:spChg chg="mod topLvl">
          <ac:chgData name="Florent Ferizaj" userId="1ac95d67-9df5-47eb-b975-9543de642a3b" providerId="ADAL" clId="{2035A8FE-03FB-427D-B8B6-71890AF85A3C}" dt="2023-10-23T08:39:27.331" v="1258" actId="207"/>
          <ac:spMkLst>
            <pc:docMk/>
            <pc:sldMk cId="3451801758" sldId="940"/>
            <ac:spMk id="9" creationId="{9918C3B7-7D06-9526-16D0-0070F6FFDAA5}"/>
          </ac:spMkLst>
        </pc:spChg>
        <pc:spChg chg="mod topLvl">
          <ac:chgData name="Florent Ferizaj" userId="1ac95d67-9df5-47eb-b975-9543de642a3b" providerId="ADAL" clId="{2035A8FE-03FB-427D-B8B6-71890AF85A3C}" dt="2023-10-23T08:39:29.627" v="1259" actId="207"/>
          <ac:spMkLst>
            <pc:docMk/>
            <pc:sldMk cId="3451801758" sldId="940"/>
            <ac:spMk id="10" creationId="{88D26A60-CB2E-B0D0-4A22-4E6C56ABB77E}"/>
          </ac:spMkLst>
        </pc:spChg>
        <pc:spChg chg="mod topLvl">
          <ac:chgData name="Florent Ferizaj" userId="1ac95d67-9df5-47eb-b975-9543de642a3b" providerId="ADAL" clId="{2035A8FE-03FB-427D-B8B6-71890AF85A3C}" dt="2023-10-23T08:39:47.769" v="1264" actId="207"/>
          <ac:spMkLst>
            <pc:docMk/>
            <pc:sldMk cId="3451801758" sldId="940"/>
            <ac:spMk id="11" creationId="{BCDA7BBF-1688-6CF4-9AAC-11A34A7BD292}"/>
          </ac:spMkLst>
        </pc:spChg>
        <pc:spChg chg="mod topLvl">
          <ac:chgData name="Florent Ferizaj" userId="1ac95d67-9df5-47eb-b975-9543de642a3b" providerId="ADAL" clId="{2035A8FE-03FB-427D-B8B6-71890AF85A3C}" dt="2023-10-23T08:38:42.147" v="1246" actId="165"/>
          <ac:spMkLst>
            <pc:docMk/>
            <pc:sldMk cId="3451801758" sldId="940"/>
            <ac:spMk id="12" creationId="{FEA4B2EF-B146-8396-47D7-A23EE6B2EC7C}"/>
          </ac:spMkLst>
        </pc:spChg>
        <pc:spChg chg="mod topLvl">
          <ac:chgData name="Florent Ferizaj" userId="1ac95d67-9df5-47eb-b975-9543de642a3b" providerId="ADAL" clId="{2035A8FE-03FB-427D-B8B6-71890AF85A3C}" dt="2023-10-23T08:38:42.147" v="1246" actId="165"/>
          <ac:spMkLst>
            <pc:docMk/>
            <pc:sldMk cId="3451801758" sldId="940"/>
            <ac:spMk id="13" creationId="{202DC442-FBAD-E5DE-FAA0-E3C349C24370}"/>
          </ac:spMkLst>
        </pc:spChg>
        <pc:spChg chg="mod topLvl">
          <ac:chgData name="Florent Ferizaj" userId="1ac95d67-9df5-47eb-b975-9543de642a3b" providerId="ADAL" clId="{2035A8FE-03FB-427D-B8B6-71890AF85A3C}" dt="2023-10-23T08:38:42.147" v="1246" actId="165"/>
          <ac:spMkLst>
            <pc:docMk/>
            <pc:sldMk cId="3451801758" sldId="940"/>
            <ac:spMk id="14" creationId="{3148FD20-333A-59D6-5B92-8BEF566AB1B7}"/>
          </ac:spMkLst>
        </pc:spChg>
        <pc:spChg chg="mod topLvl">
          <ac:chgData name="Florent Ferizaj" userId="1ac95d67-9df5-47eb-b975-9543de642a3b" providerId="ADAL" clId="{2035A8FE-03FB-427D-B8B6-71890AF85A3C}" dt="2023-10-23T08:39:44.411" v="1263" actId="207"/>
          <ac:spMkLst>
            <pc:docMk/>
            <pc:sldMk cId="3451801758" sldId="940"/>
            <ac:spMk id="15" creationId="{25710FAD-CB92-BD8D-8F56-CF2E3876E343}"/>
          </ac:spMkLst>
        </pc:spChg>
        <pc:spChg chg="del mod topLvl">
          <ac:chgData name="Florent Ferizaj" userId="1ac95d67-9df5-47eb-b975-9543de642a3b" providerId="ADAL" clId="{2035A8FE-03FB-427D-B8B6-71890AF85A3C}" dt="2023-10-23T08:38:49.526" v="1249" actId="478"/>
          <ac:spMkLst>
            <pc:docMk/>
            <pc:sldMk cId="3451801758" sldId="940"/>
            <ac:spMk id="16" creationId="{125D857B-832B-5C75-E871-37DEA3F8B43D}"/>
          </ac:spMkLst>
        </pc:spChg>
        <pc:spChg chg="add del mod topLvl">
          <ac:chgData name="Florent Ferizaj" userId="1ac95d67-9df5-47eb-b975-9543de642a3b" providerId="ADAL" clId="{2035A8FE-03FB-427D-B8B6-71890AF85A3C}" dt="2023-10-23T08:38:57.113" v="1252" actId="1076"/>
          <ac:spMkLst>
            <pc:docMk/>
            <pc:sldMk cId="3451801758" sldId="940"/>
            <ac:spMk id="17" creationId="{1420F91F-1500-ED05-EADD-73B001D2465E}"/>
          </ac:spMkLst>
        </pc:spChg>
        <pc:spChg chg="add mod">
          <ac:chgData name="Florent Ferizaj" userId="1ac95d67-9df5-47eb-b975-9543de642a3b" providerId="ADAL" clId="{2035A8FE-03FB-427D-B8B6-71890AF85A3C}" dt="2023-10-23T08:37:55.056" v="1226" actId="1076"/>
          <ac:spMkLst>
            <pc:docMk/>
            <pc:sldMk cId="3451801758" sldId="940"/>
            <ac:spMk id="18" creationId="{036D00E1-001B-33A1-4E8F-D879D05C0D12}"/>
          </ac:spMkLst>
        </pc:spChg>
        <pc:grpChg chg="add del mod">
          <ac:chgData name="Florent Ferizaj" userId="1ac95d67-9df5-47eb-b975-9543de642a3b" providerId="ADAL" clId="{2035A8FE-03FB-427D-B8B6-71890AF85A3C}" dt="2023-10-23T08:38:42.147" v="1246" actId="165"/>
          <ac:grpSpMkLst>
            <pc:docMk/>
            <pc:sldMk cId="3451801758" sldId="940"/>
            <ac:grpSpMk id="3" creationId="{7B31F405-E934-D075-E10D-87D9FCA76B64}"/>
          </ac:grpSpMkLst>
        </pc:grpChg>
        <pc:grpChg chg="add del mod topLvl">
          <ac:chgData name="Florent Ferizaj" userId="1ac95d67-9df5-47eb-b975-9543de642a3b" providerId="ADAL" clId="{2035A8FE-03FB-427D-B8B6-71890AF85A3C}" dt="2023-10-23T08:38:48.483" v="1248" actId="165"/>
          <ac:grpSpMkLst>
            <pc:docMk/>
            <pc:sldMk cId="3451801758" sldId="940"/>
            <ac:grpSpMk id="4" creationId="{C8DB74FE-086E-0A63-BDD7-9478A7FB4325}"/>
          </ac:grpSpMkLst>
        </pc:grpChg>
        <pc:grpChg chg="add del mod">
          <ac:chgData name="Florent Ferizaj" userId="1ac95d67-9df5-47eb-b975-9543de642a3b" providerId="ADAL" clId="{2035A8FE-03FB-427D-B8B6-71890AF85A3C}" dt="2023-10-23T08:39:24.910" v="1257" actId="165"/>
          <ac:grpSpMkLst>
            <pc:docMk/>
            <pc:sldMk cId="3451801758" sldId="940"/>
            <ac:grpSpMk id="19" creationId="{35BFE7BD-584E-6C20-73BE-EBBEBEA31817}"/>
          </ac:grpSpMkLst>
        </pc:grpChg>
      </pc:sldChg>
      <pc:sldChg chg="addSp delSp modSp new mod">
        <pc:chgData name="Florent Ferizaj" userId="1ac95d67-9df5-47eb-b975-9543de642a3b" providerId="ADAL" clId="{2035A8FE-03FB-427D-B8B6-71890AF85A3C}" dt="2023-10-24T06:56:41.071" v="2159" actId="571"/>
        <pc:sldMkLst>
          <pc:docMk/>
          <pc:sldMk cId="3843498221" sldId="941"/>
        </pc:sldMkLst>
        <pc:spChg chg="del">
          <ac:chgData name="Florent Ferizaj" userId="1ac95d67-9df5-47eb-b975-9543de642a3b" providerId="ADAL" clId="{2035A8FE-03FB-427D-B8B6-71890AF85A3C}" dt="2023-10-23T08:40:16.420" v="1267" actId="478"/>
          <ac:spMkLst>
            <pc:docMk/>
            <pc:sldMk cId="3843498221" sldId="941"/>
            <ac:spMk id="2" creationId="{D2166B30-C373-73C9-A5A8-6B7EAF64173D}"/>
          </ac:spMkLst>
        </pc:spChg>
        <pc:spChg chg="mod">
          <ac:chgData name="Florent Ferizaj" userId="1ac95d67-9df5-47eb-b975-9543de642a3b" providerId="ADAL" clId="{2035A8FE-03FB-427D-B8B6-71890AF85A3C}" dt="2023-10-23T08:40:22.843" v="1268"/>
          <ac:spMkLst>
            <pc:docMk/>
            <pc:sldMk cId="3843498221" sldId="941"/>
            <ac:spMk id="4" creationId="{59E5C320-C3C8-E750-3936-1BB754D8201C}"/>
          </ac:spMkLst>
        </pc:spChg>
        <pc:spChg chg="mod">
          <ac:chgData name="Florent Ferizaj" userId="1ac95d67-9df5-47eb-b975-9543de642a3b" providerId="ADAL" clId="{2035A8FE-03FB-427D-B8B6-71890AF85A3C}" dt="2023-10-23T08:40:22.843" v="1268"/>
          <ac:spMkLst>
            <pc:docMk/>
            <pc:sldMk cId="3843498221" sldId="941"/>
            <ac:spMk id="5" creationId="{A9CB842D-492E-1308-E544-0E3A297241A1}"/>
          </ac:spMkLst>
        </pc:spChg>
        <pc:spChg chg="add del mod">
          <ac:chgData name="Florent Ferizaj" userId="1ac95d67-9df5-47eb-b975-9543de642a3b" providerId="ADAL" clId="{2035A8FE-03FB-427D-B8B6-71890AF85A3C}" dt="2023-10-23T08:40:33.813" v="1275" actId="478"/>
          <ac:spMkLst>
            <pc:docMk/>
            <pc:sldMk cId="3843498221" sldId="941"/>
            <ac:spMk id="6" creationId="{CEBDC7B7-4BA9-7B22-0FC4-7833F28E27FD}"/>
          </ac:spMkLst>
        </pc:spChg>
        <pc:spChg chg="mod">
          <ac:chgData name="Florent Ferizaj" userId="1ac95d67-9df5-47eb-b975-9543de642a3b" providerId="ADAL" clId="{2035A8FE-03FB-427D-B8B6-71890AF85A3C}" dt="2023-10-23T08:40:22.843" v="1268"/>
          <ac:spMkLst>
            <pc:docMk/>
            <pc:sldMk cId="3843498221" sldId="941"/>
            <ac:spMk id="12" creationId="{D5348136-9B18-AAB3-3912-A1DF729E24B1}"/>
          </ac:spMkLst>
        </pc:spChg>
        <pc:spChg chg="mod">
          <ac:chgData name="Florent Ferizaj" userId="1ac95d67-9df5-47eb-b975-9543de642a3b" providerId="ADAL" clId="{2035A8FE-03FB-427D-B8B6-71890AF85A3C}" dt="2023-10-23T08:40:22.843" v="1268"/>
          <ac:spMkLst>
            <pc:docMk/>
            <pc:sldMk cId="3843498221" sldId="941"/>
            <ac:spMk id="13" creationId="{D2C6B657-7D00-11BE-D759-179473710AFC}"/>
          </ac:spMkLst>
        </pc:spChg>
        <pc:spChg chg="mod">
          <ac:chgData name="Florent Ferizaj" userId="1ac95d67-9df5-47eb-b975-9543de642a3b" providerId="ADAL" clId="{2035A8FE-03FB-427D-B8B6-71890AF85A3C}" dt="2023-10-23T08:40:22.843" v="1268"/>
          <ac:spMkLst>
            <pc:docMk/>
            <pc:sldMk cId="3843498221" sldId="941"/>
            <ac:spMk id="14" creationId="{187A9D74-D80E-3B29-112E-4E7D589F216A}"/>
          </ac:spMkLst>
        </pc:spChg>
        <pc:spChg chg="mod">
          <ac:chgData name="Florent Ferizaj" userId="1ac95d67-9df5-47eb-b975-9543de642a3b" providerId="ADAL" clId="{2035A8FE-03FB-427D-B8B6-71890AF85A3C}" dt="2023-10-23T08:40:22.843" v="1268"/>
          <ac:spMkLst>
            <pc:docMk/>
            <pc:sldMk cId="3843498221" sldId="941"/>
            <ac:spMk id="15" creationId="{01288E2C-7809-682E-11A7-7EFF0E31FA26}"/>
          </ac:spMkLst>
        </pc:spChg>
        <pc:spChg chg="mod">
          <ac:chgData name="Florent Ferizaj" userId="1ac95d67-9df5-47eb-b975-9543de642a3b" providerId="ADAL" clId="{2035A8FE-03FB-427D-B8B6-71890AF85A3C}" dt="2023-10-23T08:40:22.843" v="1268"/>
          <ac:spMkLst>
            <pc:docMk/>
            <pc:sldMk cId="3843498221" sldId="941"/>
            <ac:spMk id="16" creationId="{1525B2EC-C9E6-F437-BB55-A17B8FD49B16}"/>
          </ac:spMkLst>
        </pc:spChg>
        <pc:spChg chg="mod">
          <ac:chgData name="Florent Ferizaj" userId="1ac95d67-9df5-47eb-b975-9543de642a3b" providerId="ADAL" clId="{2035A8FE-03FB-427D-B8B6-71890AF85A3C}" dt="2023-10-23T08:40:22.843" v="1268"/>
          <ac:spMkLst>
            <pc:docMk/>
            <pc:sldMk cId="3843498221" sldId="941"/>
            <ac:spMk id="17" creationId="{909C4A75-39A1-4975-07A5-4DEB842EBFBE}"/>
          </ac:spMkLst>
        </pc:spChg>
        <pc:spChg chg="mod">
          <ac:chgData name="Florent Ferizaj" userId="1ac95d67-9df5-47eb-b975-9543de642a3b" providerId="ADAL" clId="{2035A8FE-03FB-427D-B8B6-71890AF85A3C}" dt="2023-10-23T08:40:22.843" v="1268"/>
          <ac:spMkLst>
            <pc:docMk/>
            <pc:sldMk cId="3843498221" sldId="941"/>
            <ac:spMk id="18" creationId="{A9A1BACE-0002-3D2B-4E16-D964CC6FEA17}"/>
          </ac:spMkLst>
        </pc:spChg>
        <pc:spChg chg="mod">
          <ac:chgData name="Florent Ferizaj" userId="1ac95d67-9df5-47eb-b975-9543de642a3b" providerId="ADAL" clId="{2035A8FE-03FB-427D-B8B6-71890AF85A3C}" dt="2023-10-23T08:40:22.843" v="1268"/>
          <ac:spMkLst>
            <pc:docMk/>
            <pc:sldMk cId="3843498221" sldId="941"/>
            <ac:spMk id="20" creationId="{255E7743-F70F-E972-3758-32143D51C24A}"/>
          </ac:spMkLst>
        </pc:spChg>
        <pc:spChg chg="mod">
          <ac:chgData name="Florent Ferizaj" userId="1ac95d67-9df5-47eb-b975-9543de642a3b" providerId="ADAL" clId="{2035A8FE-03FB-427D-B8B6-71890AF85A3C}" dt="2023-10-23T08:40:22.843" v="1268"/>
          <ac:spMkLst>
            <pc:docMk/>
            <pc:sldMk cId="3843498221" sldId="941"/>
            <ac:spMk id="21" creationId="{758B04B9-612B-0BD9-0730-815FDB47E9AC}"/>
          </ac:spMkLst>
        </pc:spChg>
        <pc:spChg chg="mod">
          <ac:chgData name="Florent Ferizaj" userId="1ac95d67-9df5-47eb-b975-9543de642a3b" providerId="ADAL" clId="{2035A8FE-03FB-427D-B8B6-71890AF85A3C}" dt="2023-10-23T08:40:22.843" v="1268"/>
          <ac:spMkLst>
            <pc:docMk/>
            <pc:sldMk cId="3843498221" sldId="941"/>
            <ac:spMk id="22" creationId="{B861AFE9-8F79-8B50-3E95-36B846EFBE99}"/>
          </ac:spMkLst>
        </pc:spChg>
        <pc:spChg chg="mod">
          <ac:chgData name="Florent Ferizaj" userId="1ac95d67-9df5-47eb-b975-9543de642a3b" providerId="ADAL" clId="{2035A8FE-03FB-427D-B8B6-71890AF85A3C}" dt="2023-10-23T08:40:22.843" v="1268"/>
          <ac:spMkLst>
            <pc:docMk/>
            <pc:sldMk cId="3843498221" sldId="941"/>
            <ac:spMk id="23" creationId="{8FF4F6E1-59E9-127C-510A-C536CFC54294}"/>
          </ac:spMkLst>
        </pc:spChg>
        <pc:spChg chg="mod">
          <ac:chgData name="Florent Ferizaj" userId="1ac95d67-9df5-47eb-b975-9543de642a3b" providerId="ADAL" clId="{2035A8FE-03FB-427D-B8B6-71890AF85A3C}" dt="2023-10-23T08:40:22.843" v="1268"/>
          <ac:spMkLst>
            <pc:docMk/>
            <pc:sldMk cId="3843498221" sldId="941"/>
            <ac:spMk id="24" creationId="{DBFBE138-24FF-4E34-EEA2-F125789152E5}"/>
          </ac:spMkLst>
        </pc:spChg>
        <pc:spChg chg="mod">
          <ac:chgData name="Florent Ferizaj" userId="1ac95d67-9df5-47eb-b975-9543de642a3b" providerId="ADAL" clId="{2035A8FE-03FB-427D-B8B6-71890AF85A3C}" dt="2023-10-23T08:40:22.843" v="1268"/>
          <ac:spMkLst>
            <pc:docMk/>
            <pc:sldMk cId="3843498221" sldId="941"/>
            <ac:spMk id="25" creationId="{391190E3-B0C7-5D87-E682-BF8CCAFD7775}"/>
          </ac:spMkLst>
        </pc:spChg>
        <pc:spChg chg="mod">
          <ac:chgData name="Florent Ferizaj" userId="1ac95d67-9df5-47eb-b975-9543de642a3b" providerId="ADAL" clId="{2035A8FE-03FB-427D-B8B6-71890AF85A3C}" dt="2023-10-23T08:40:22.843" v="1268"/>
          <ac:spMkLst>
            <pc:docMk/>
            <pc:sldMk cId="3843498221" sldId="941"/>
            <ac:spMk id="26" creationId="{BC796ABB-E84C-8FE1-7B0D-EC5D7EEB1AD5}"/>
          </ac:spMkLst>
        </pc:spChg>
        <pc:spChg chg="mod">
          <ac:chgData name="Florent Ferizaj" userId="1ac95d67-9df5-47eb-b975-9543de642a3b" providerId="ADAL" clId="{2035A8FE-03FB-427D-B8B6-71890AF85A3C}" dt="2023-10-23T08:40:22.843" v="1268"/>
          <ac:spMkLst>
            <pc:docMk/>
            <pc:sldMk cId="3843498221" sldId="941"/>
            <ac:spMk id="28" creationId="{F900C6D4-0C16-D0F8-64C6-03EB5BCCB31D}"/>
          </ac:spMkLst>
        </pc:spChg>
        <pc:spChg chg="mod">
          <ac:chgData name="Florent Ferizaj" userId="1ac95d67-9df5-47eb-b975-9543de642a3b" providerId="ADAL" clId="{2035A8FE-03FB-427D-B8B6-71890AF85A3C}" dt="2023-10-23T08:40:22.843" v="1268"/>
          <ac:spMkLst>
            <pc:docMk/>
            <pc:sldMk cId="3843498221" sldId="941"/>
            <ac:spMk id="29" creationId="{DDB3A960-2129-D1CB-66B9-AC21B0909F78}"/>
          </ac:spMkLst>
        </pc:spChg>
        <pc:spChg chg="mod">
          <ac:chgData name="Florent Ferizaj" userId="1ac95d67-9df5-47eb-b975-9543de642a3b" providerId="ADAL" clId="{2035A8FE-03FB-427D-B8B6-71890AF85A3C}" dt="2023-10-23T08:40:22.843" v="1268"/>
          <ac:spMkLst>
            <pc:docMk/>
            <pc:sldMk cId="3843498221" sldId="941"/>
            <ac:spMk id="30" creationId="{B2C64592-1670-A903-78C0-C209F71078F2}"/>
          </ac:spMkLst>
        </pc:spChg>
        <pc:spChg chg="mod">
          <ac:chgData name="Florent Ferizaj" userId="1ac95d67-9df5-47eb-b975-9543de642a3b" providerId="ADAL" clId="{2035A8FE-03FB-427D-B8B6-71890AF85A3C}" dt="2023-10-23T08:40:22.843" v="1268"/>
          <ac:spMkLst>
            <pc:docMk/>
            <pc:sldMk cId="3843498221" sldId="941"/>
            <ac:spMk id="31" creationId="{C5D678E2-D196-2E38-635B-F6FE86734BA0}"/>
          </ac:spMkLst>
        </pc:spChg>
        <pc:spChg chg="mod">
          <ac:chgData name="Florent Ferizaj" userId="1ac95d67-9df5-47eb-b975-9543de642a3b" providerId="ADAL" clId="{2035A8FE-03FB-427D-B8B6-71890AF85A3C}" dt="2023-10-23T08:40:22.843" v="1268"/>
          <ac:spMkLst>
            <pc:docMk/>
            <pc:sldMk cId="3843498221" sldId="941"/>
            <ac:spMk id="32" creationId="{113E44C0-9C80-C41D-D3AC-35B08F526BEF}"/>
          </ac:spMkLst>
        </pc:spChg>
        <pc:spChg chg="mod">
          <ac:chgData name="Florent Ferizaj" userId="1ac95d67-9df5-47eb-b975-9543de642a3b" providerId="ADAL" clId="{2035A8FE-03FB-427D-B8B6-71890AF85A3C}" dt="2023-10-23T08:40:22.843" v="1268"/>
          <ac:spMkLst>
            <pc:docMk/>
            <pc:sldMk cId="3843498221" sldId="941"/>
            <ac:spMk id="33" creationId="{C7219B05-5912-C05D-6BAD-E81DA7152644}"/>
          </ac:spMkLst>
        </pc:spChg>
        <pc:spChg chg="mod">
          <ac:chgData name="Florent Ferizaj" userId="1ac95d67-9df5-47eb-b975-9543de642a3b" providerId="ADAL" clId="{2035A8FE-03FB-427D-B8B6-71890AF85A3C}" dt="2023-10-23T08:40:22.843" v="1268"/>
          <ac:spMkLst>
            <pc:docMk/>
            <pc:sldMk cId="3843498221" sldId="941"/>
            <ac:spMk id="34" creationId="{556A5BEE-5F71-58BE-BEA7-17898B3CA863}"/>
          </ac:spMkLst>
        </pc:spChg>
        <pc:spChg chg="add mod">
          <ac:chgData name="Florent Ferizaj" userId="1ac95d67-9df5-47eb-b975-9543de642a3b" providerId="ADAL" clId="{2035A8FE-03FB-427D-B8B6-71890AF85A3C}" dt="2023-10-23T08:41:58.473" v="1311" actId="255"/>
          <ac:spMkLst>
            <pc:docMk/>
            <pc:sldMk cId="3843498221" sldId="941"/>
            <ac:spMk id="35" creationId="{95DC152C-743B-4BC2-4E06-BAEB0EDB536D}"/>
          </ac:spMkLst>
        </pc:spChg>
        <pc:spChg chg="mod">
          <ac:chgData name="Florent Ferizaj" userId="1ac95d67-9df5-47eb-b975-9543de642a3b" providerId="ADAL" clId="{2035A8FE-03FB-427D-B8B6-71890AF85A3C}" dt="2023-10-23T08:40:22.843" v="1268"/>
          <ac:spMkLst>
            <pc:docMk/>
            <pc:sldMk cId="3843498221" sldId="941"/>
            <ac:spMk id="37" creationId="{6CC7B01E-E424-CAF1-DC61-8097E619AA7C}"/>
          </ac:spMkLst>
        </pc:spChg>
        <pc:spChg chg="mod">
          <ac:chgData name="Florent Ferizaj" userId="1ac95d67-9df5-47eb-b975-9543de642a3b" providerId="ADAL" clId="{2035A8FE-03FB-427D-B8B6-71890AF85A3C}" dt="2023-10-23T08:40:22.843" v="1268"/>
          <ac:spMkLst>
            <pc:docMk/>
            <pc:sldMk cId="3843498221" sldId="941"/>
            <ac:spMk id="38" creationId="{48D73051-9E2B-918E-52AD-63448F93E5E1}"/>
          </ac:spMkLst>
        </pc:spChg>
        <pc:spChg chg="mod">
          <ac:chgData name="Florent Ferizaj" userId="1ac95d67-9df5-47eb-b975-9543de642a3b" providerId="ADAL" clId="{2035A8FE-03FB-427D-B8B6-71890AF85A3C}" dt="2023-10-23T08:40:22.843" v="1268"/>
          <ac:spMkLst>
            <pc:docMk/>
            <pc:sldMk cId="3843498221" sldId="941"/>
            <ac:spMk id="39" creationId="{AD9D6429-E2BC-CEDB-E4C4-A709FFF98020}"/>
          </ac:spMkLst>
        </pc:spChg>
        <pc:spChg chg="mod">
          <ac:chgData name="Florent Ferizaj" userId="1ac95d67-9df5-47eb-b975-9543de642a3b" providerId="ADAL" clId="{2035A8FE-03FB-427D-B8B6-71890AF85A3C}" dt="2023-10-23T08:40:22.843" v="1268"/>
          <ac:spMkLst>
            <pc:docMk/>
            <pc:sldMk cId="3843498221" sldId="941"/>
            <ac:spMk id="40" creationId="{5B1F5FE2-E52C-0E17-3852-27A48E4270F1}"/>
          </ac:spMkLst>
        </pc:spChg>
        <pc:spChg chg="mod">
          <ac:chgData name="Florent Ferizaj" userId="1ac95d67-9df5-47eb-b975-9543de642a3b" providerId="ADAL" clId="{2035A8FE-03FB-427D-B8B6-71890AF85A3C}" dt="2023-10-23T08:40:22.843" v="1268"/>
          <ac:spMkLst>
            <pc:docMk/>
            <pc:sldMk cId="3843498221" sldId="941"/>
            <ac:spMk id="41" creationId="{C84658A9-FAB1-A194-816D-D7EBF2708AC1}"/>
          </ac:spMkLst>
        </pc:spChg>
        <pc:spChg chg="mod">
          <ac:chgData name="Florent Ferizaj" userId="1ac95d67-9df5-47eb-b975-9543de642a3b" providerId="ADAL" clId="{2035A8FE-03FB-427D-B8B6-71890AF85A3C}" dt="2023-10-23T08:40:22.843" v="1268"/>
          <ac:spMkLst>
            <pc:docMk/>
            <pc:sldMk cId="3843498221" sldId="941"/>
            <ac:spMk id="42" creationId="{88231EC6-D7D0-F13E-03FD-DE796399FB15}"/>
          </ac:spMkLst>
        </pc:spChg>
        <pc:spChg chg="mod">
          <ac:chgData name="Florent Ferizaj" userId="1ac95d67-9df5-47eb-b975-9543de642a3b" providerId="ADAL" clId="{2035A8FE-03FB-427D-B8B6-71890AF85A3C}" dt="2023-10-23T08:40:22.843" v="1268"/>
          <ac:spMkLst>
            <pc:docMk/>
            <pc:sldMk cId="3843498221" sldId="941"/>
            <ac:spMk id="43" creationId="{B63007A2-9150-0933-92CC-DF29CC9BC221}"/>
          </ac:spMkLst>
        </pc:spChg>
        <pc:spChg chg="mod">
          <ac:chgData name="Florent Ferizaj" userId="1ac95d67-9df5-47eb-b975-9543de642a3b" providerId="ADAL" clId="{2035A8FE-03FB-427D-B8B6-71890AF85A3C}" dt="2023-10-23T08:41:58.473" v="1311" actId="255"/>
          <ac:spMkLst>
            <pc:docMk/>
            <pc:sldMk cId="3843498221" sldId="941"/>
            <ac:spMk id="44" creationId="{FF0F2EE9-4B9F-60D6-0D8E-4FB8CD8E2AEE}"/>
          </ac:spMkLst>
        </pc:spChg>
        <pc:spChg chg="add mod">
          <ac:chgData name="Florent Ferizaj" userId="1ac95d67-9df5-47eb-b975-9543de642a3b" providerId="ADAL" clId="{2035A8FE-03FB-427D-B8B6-71890AF85A3C}" dt="2023-10-23T08:41:43.833" v="1306" actId="164"/>
          <ac:spMkLst>
            <pc:docMk/>
            <pc:sldMk cId="3843498221" sldId="941"/>
            <ac:spMk id="45" creationId="{251BFE31-F1EC-F185-DE29-7D63F2E63679}"/>
          </ac:spMkLst>
        </pc:spChg>
        <pc:spChg chg="add mod">
          <ac:chgData name="Florent Ferizaj" userId="1ac95d67-9df5-47eb-b975-9543de642a3b" providerId="ADAL" clId="{2035A8FE-03FB-427D-B8B6-71890AF85A3C}" dt="2023-10-23T08:41:58.821" v="1312" actId="255"/>
          <ac:spMkLst>
            <pc:docMk/>
            <pc:sldMk cId="3843498221" sldId="941"/>
            <ac:spMk id="46" creationId="{79000678-63EB-E572-8FBB-2A540454C1EF}"/>
          </ac:spMkLst>
        </pc:spChg>
        <pc:spChg chg="add mod">
          <ac:chgData name="Florent Ferizaj" userId="1ac95d67-9df5-47eb-b975-9543de642a3b" providerId="ADAL" clId="{2035A8FE-03FB-427D-B8B6-71890AF85A3C}" dt="2023-10-23T08:41:58.473" v="1311" actId="255"/>
          <ac:spMkLst>
            <pc:docMk/>
            <pc:sldMk cId="3843498221" sldId="941"/>
            <ac:spMk id="47" creationId="{8F3E54C3-C670-8DDF-6E0E-6144276F5407}"/>
          </ac:spMkLst>
        </pc:spChg>
        <pc:spChg chg="add mod">
          <ac:chgData name="Florent Ferizaj" userId="1ac95d67-9df5-47eb-b975-9543de642a3b" providerId="ADAL" clId="{2035A8FE-03FB-427D-B8B6-71890AF85A3C}" dt="2023-10-23T08:41:18.305" v="1295" actId="207"/>
          <ac:spMkLst>
            <pc:docMk/>
            <pc:sldMk cId="3843498221" sldId="941"/>
            <ac:spMk id="48" creationId="{24EBB94B-7D87-E1B6-8D86-F350B0524014}"/>
          </ac:spMkLst>
        </pc:spChg>
        <pc:spChg chg="add mod">
          <ac:chgData name="Florent Ferizaj" userId="1ac95d67-9df5-47eb-b975-9543de642a3b" providerId="ADAL" clId="{2035A8FE-03FB-427D-B8B6-71890AF85A3C}" dt="2023-10-23T08:41:18.305" v="1295" actId="207"/>
          <ac:spMkLst>
            <pc:docMk/>
            <pc:sldMk cId="3843498221" sldId="941"/>
            <ac:spMk id="49" creationId="{433BA4C2-A59C-26ED-525C-27BA88B1A447}"/>
          </ac:spMkLst>
        </pc:spChg>
        <pc:spChg chg="mod">
          <ac:chgData name="Florent Ferizaj" userId="1ac95d67-9df5-47eb-b975-9543de642a3b" providerId="ADAL" clId="{2035A8FE-03FB-427D-B8B6-71890AF85A3C}" dt="2023-10-23T08:41:26.569" v="1296"/>
          <ac:spMkLst>
            <pc:docMk/>
            <pc:sldMk cId="3843498221" sldId="941"/>
            <ac:spMk id="51" creationId="{80F38B18-4F39-C1F7-47DC-702A9A0CD403}"/>
          </ac:spMkLst>
        </pc:spChg>
        <pc:spChg chg="mod">
          <ac:chgData name="Florent Ferizaj" userId="1ac95d67-9df5-47eb-b975-9543de642a3b" providerId="ADAL" clId="{2035A8FE-03FB-427D-B8B6-71890AF85A3C}" dt="2023-10-23T08:41:26.569" v="1296"/>
          <ac:spMkLst>
            <pc:docMk/>
            <pc:sldMk cId="3843498221" sldId="941"/>
            <ac:spMk id="52" creationId="{C5A506F1-3639-5FA6-7276-24D1DDF8A69C}"/>
          </ac:spMkLst>
        </pc:spChg>
        <pc:spChg chg="mod">
          <ac:chgData name="Florent Ferizaj" userId="1ac95d67-9df5-47eb-b975-9543de642a3b" providerId="ADAL" clId="{2035A8FE-03FB-427D-B8B6-71890AF85A3C}" dt="2023-10-23T08:41:26.569" v="1296"/>
          <ac:spMkLst>
            <pc:docMk/>
            <pc:sldMk cId="3843498221" sldId="941"/>
            <ac:spMk id="54" creationId="{F5CBC949-D3CE-E926-96C3-62A4CCC765F6}"/>
          </ac:spMkLst>
        </pc:spChg>
        <pc:spChg chg="mod">
          <ac:chgData name="Florent Ferizaj" userId="1ac95d67-9df5-47eb-b975-9543de642a3b" providerId="ADAL" clId="{2035A8FE-03FB-427D-B8B6-71890AF85A3C}" dt="2023-10-23T08:41:26.569" v="1296"/>
          <ac:spMkLst>
            <pc:docMk/>
            <pc:sldMk cId="3843498221" sldId="941"/>
            <ac:spMk id="55" creationId="{79C76D1A-3630-1C44-4C03-BBDCA7913140}"/>
          </ac:spMkLst>
        </pc:spChg>
        <pc:spChg chg="mod">
          <ac:chgData name="Florent Ferizaj" userId="1ac95d67-9df5-47eb-b975-9543de642a3b" providerId="ADAL" clId="{2035A8FE-03FB-427D-B8B6-71890AF85A3C}" dt="2023-10-23T08:41:26.569" v="1296"/>
          <ac:spMkLst>
            <pc:docMk/>
            <pc:sldMk cId="3843498221" sldId="941"/>
            <ac:spMk id="57" creationId="{1C590833-D670-14DE-BDFC-1D817210FBDF}"/>
          </ac:spMkLst>
        </pc:spChg>
        <pc:spChg chg="mod">
          <ac:chgData name="Florent Ferizaj" userId="1ac95d67-9df5-47eb-b975-9543de642a3b" providerId="ADAL" clId="{2035A8FE-03FB-427D-B8B6-71890AF85A3C}" dt="2023-10-23T08:41:26.569" v="1296"/>
          <ac:spMkLst>
            <pc:docMk/>
            <pc:sldMk cId="3843498221" sldId="941"/>
            <ac:spMk id="58" creationId="{B7DA7B1F-99B2-AB8C-319E-16BFF6EE039E}"/>
          </ac:spMkLst>
        </pc:spChg>
        <pc:spChg chg="mod">
          <ac:chgData name="Florent Ferizaj" userId="1ac95d67-9df5-47eb-b975-9543de642a3b" providerId="ADAL" clId="{2035A8FE-03FB-427D-B8B6-71890AF85A3C}" dt="2023-10-23T08:41:26.569" v="1296"/>
          <ac:spMkLst>
            <pc:docMk/>
            <pc:sldMk cId="3843498221" sldId="941"/>
            <ac:spMk id="60" creationId="{CB2A2414-AA73-EF60-603A-F37E3B001EEF}"/>
          </ac:spMkLst>
        </pc:spChg>
        <pc:spChg chg="mod">
          <ac:chgData name="Florent Ferizaj" userId="1ac95d67-9df5-47eb-b975-9543de642a3b" providerId="ADAL" clId="{2035A8FE-03FB-427D-B8B6-71890AF85A3C}" dt="2023-10-23T08:41:26.569" v="1296"/>
          <ac:spMkLst>
            <pc:docMk/>
            <pc:sldMk cId="3843498221" sldId="941"/>
            <ac:spMk id="61" creationId="{596809B8-14DD-A6BF-A3FF-1DE944EAB9CA}"/>
          </ac:spMkLst>
        </pc:spChg>
        <pc:spChg chg="add del mod">
          <ac:chgData name="Florent Ferizaj" userId="1ac95d67-9df5-47eb-b975-9543de642a3b" providerId="ADAL" clId="{2035A8FE-03FB-427D-B8B6-71890AF85A3C}" dt="2023-10-23T08:41:35.289" v="1300" actId="478"/>
          <ac:spMkLst>
            <pc:docMk/>
            <pc:sldMk cId="3843498221" sldId="941"/>
            <ac:spMk id="62" creationId="{7EFCDE24-90F1-D328-AAEB-39982A1FBC19}"/>
          </ac:spMkLst>
        </pc:spChg>
        <pc:spChg chg="mod">
          <ac:chgData name="Florent Ferizaj" userId="1ac95d67-9df5-47eb-b975-9543de642a3b" providerId="ADAL" clId="{2035A8FE-03FB-427D-B8B6-71890AF85A3C}" dt="2023-10-23T08:41:26.569" v="1296"/>
          <ac:spMkLst>
            <pc:docMk/>
            <pc:sldMk cId="3843498221" sldId="941"/>
            <ac:spMk id="64" creationId="{DE63E170-5387-CE23-367D-18567E946691}"/>
          </ac:spMkLst>
        </pc:spChg>
        <pc:spChg chg="mod">
          <ac:chgData name="Florent Ferizaj" userId="1ac95d67-9df5-47eb-b975-9543de642a3b" providerId="ADAL" clId="{2035A8FE-03FB-427D-B8B6-71890AF85A3C}" dt="2023-10-23T08:41:26.569" v="1296"/>
          <ac:spMkLst>
            <pc:docMk/>
            <pc:sldMk cId="3843498221" sldId="941"/>
            <ac:spMk id="65" creationId="{2FD937F6-D488-EB4D-F940-42F407F7027E}"/>
          </ac:spMkLst>
        </pc:spChg>
        <pc:spChg chg="mod">
          <ac:chgData name="Florent Ferizaj" userId="1ac95d67-9df5-47eb-b975-9543de642a3b" providerId="ADAL" clId="{2035A8FE-03FB-427D-B8B6-71890AF85A3C}" dt="2023-10-24T06:56:41.071" v="2159" actId="571"/>
          <ac:spMkLst>
            <pc:docMk/>
            <pc:sldMk cId="3843498221" sldId="941"/>
            <ac:spMk id="72" creationId="{1E4954D7-A638-35BF-6EC9-99DD6ACF4945}"/>
          </ac:spMkLst>
        </pc:spChg>
        <pc:spChg chg="mod">
          <ac:chgData name="Florent Ferizaj" userId="1ac95d67-9df5-47eb-b975-9543de642a3b" providerId="ADAL" clId="{2035A8FE-03FB-427D-B8B6-71890AF85A3C}" dt="2023-10-24T06:56:41.071" v="2159" actId="571"/>
          <ac:spMkLst>
            <pc:docMk/>
            <pc:sldMk cId="3843498221" sldId="941"/>
            <ac:spMk id="73" creationId="{26D8EA32-FCB4-CDEC-4F1C-5C2A6E237F97}"/>
          </ac:spMkLst>
        </pc:spChg>
        <pc:spChg chg="mod">
          <ac:chgData name="Florent Ferizaj" userId="1ac95d67-9df5-47eb-b975-9543de642a3b" providerId="ADAL" clId="{2035A8FE-03FB-427D-B8B6-71890AF85A3C}" dt="2023-10-24T06:56:41.071" v="2159" actId="571"/>
          <ac:spMkLst>
            <pc:docMk/>
            <pc:sldMk cId="3843498221" sldId="941"/>
            <ac:spMk id="74" creationId="{0A710B71-DC98-EF9C-D649-D94FAF06048B}"/>
          </ac:spMkLst>
        </pc:spChg>
        <pc:spChg chg="mod">
          <ac:chgData name="Florent Ferizaj" userId="1ac95d67-9df5-47eb-b975-9543de642a3b" providerId="ADAL" clId="{2035A8FE-03FB-427D-B8B6-71890AF85A3C}" dt="2023-10-24T06:56:41.071" v="2159" actId="571"/>
          <ac:spMkLst>
            <pc:docMk/>
            <pc:sldMk cId="3843498221" sldId="941"/>
            <ac:spMk id="75" creationId="{8A9BFDC9-C9F8-8550-2DF6-20897CBEAF1F}"/>
          </ac:spMkLst>
        </pc:spChg>
        <pc:spChg chg="mod">
          <ac:chgData name="Florent Ferizaj" userId="1ac95d67-9df5-47eb-b975-9543de642a3b" providerId="ADAL" clId="{2035A8FE-03FB-427D-B8B6-71890AF85A3C}" dt="2023-10-24T06:56:41.071" v="2159" actId="571"/>
          <ac:spMkLst>
            <pc:docMk/>
            <pc:sldMk cId="3843498221" sldId="941"/>
            <ac:spMk id="76" creationId="{2434EAE9-429F-C7C2-9E35-B7F9A00A25DA}"/>
          </ac:spMkLst>
        </pc:spChg>
        <pc:spChg chg="mod">
          <ac:chgData name="Florent Ferizaj" userId="1ac95d67-9df5-47eb-b975-9543de642a3b" providerId="ADAL" clId="{2035A8FE-03FB-427D-B8B6-71890AF85A3C}" dt="2023-10-24T06:56:41.071" v="2159" actId="571"/>
          <ac:spMkLst>
            <pc:docMk/>
            <pc:sldMk cId="3843498221" sldId="941"/>
            <ac:spMk id="78" creationId="{370D39E2-83E9-4996-CFC3-A9B634F675D9}"/>
          </ac:spMkLst>
        </pc:spChg>
        <pc:spChg chg="mod">
          <ac:chgData name="Florent Ferizaj" userId="1ac95d67-9df5-47eb-b975-9543de642a3b" providerId="ADAL" clId="{2035A8FE-03FB-427D-B8B6-71890AF85A3C}" dt="2023-10-24T06:56:41.071" v="2159" actId="571"/>
          <ac:spMkLst>
            <pc:docMk/>
            <pc:sldMk cId="3843498221" sldId="941"/>
            <ac:spMk id="79" creationId="{734331AA-5490-3D6A-C4CB-B53CCC0D7B41}"/>
          </ac:spMkLst>
        </pc:spChg>
        <pc:spChg chg="mod">
          <ac:chgData name="Florent Ferizaj" userId="1ac95d67-9df5-47eb-b975-9543de642a3b" providerId="ADAL" clId="{2035A8FE-03FB-427D-B8B6-71890AF85A3C}" dt="2023-10-24T06:56:41.071" v="2159" actId="571"/>
          <ac:spMkLst>
            <pc:docMk/>
            <pc:sldMk cId="3843498221" sldId="941"/>
            <ac:spMk id="80" creationId="{32CFB301-71FE-D00A-7352-A89DDDC7CED3}"/>
          </ac:spMkLst>
        </pc:spChg>
        <pc:spChg chg="mod">
          <ac:chgData name="Florent Ferizaj" userId="1ac95d67-9df5-47eb-b975-9543de642a3b" providerId="ADAL" clId="{2035A8FE-03FB-427D-B8B6-71890AF85A3C}" dt="2023-10-24T06:56:41.071" v="2159" actId="571"/>
          <ac:spMkLst>
            <pc:docMk/>
            <pc:sldMk cId="3843498221" sldId="941"/>
            <ac:spMk id="81" creationId="{9AE2B140-043F-6D31-E732-78CB3B11AA68}"/>
          </ac:spMkLst>
        </pc:spChg>
        <pc:spChg chg="mod">
          <ac:chgData name="Florent Ferizaj" userId="1ac95d67-9df5-47eb-b975-9543de642a3b" providerId="ADAL" clId="{2035A8FE-03FB-427D-B8B6-71890AF85A3C}" dt="2023-10-24T06:56:41.071" v="2159" actId="571"/>
          <ac:spMkLst>
            <pc:docMk/>
            <pc:sldMk cId="3843498221" sldId="941"/>
            <ac:spMk id="82" creationId="{5502740E-9658-8EF4-BE83-2ED5E62BA801}"/>
          </ac:spMkLst>
        </pc:spChg>
        <pc:spChg chg="mod">
          <ac:chgData name="Florent Ferizaj" userId="1ac95d67-9df5-47eb-b975-9543de642a3b" providerId="ADAL" clId="{2035A8FE-03FB-427D-B8B6-71890AF85A3C}" dt="2023-10-24T06:56:41.071" v="2159" actId="571"/>
          <ac:spMkLst>
            <pc:docMk/>
            <pc:sldMk cId="3843498221" sldId="941"/>
            <ac:spMk id="83" creationId="{091B359C-F134-80A7-B09F-C30149229912}"/>
          </ac:spMkLst>
        </pc:spChg>
        <pc:spChg chg="mod">
          <ac:chgData name="Florent Ferizaj" userId="1ac95d67-9df5-47eb-b975-9543de642a3b" providerId="ADAL" clId="{2035A8FE-03FB-427D-B8B6-71890AF85A3C}" dt="2023-10-24T06:56:41.071" v="2159" actId="571"/>
          <ac:spMkLst>
            <pc:docMk/>
            <pc:sldMk cId="3843498221" sldId="941"/>
            <ac:spMk id="84" creationId="{8BB76855-3995-743C-0BB4-E2B00C1FB9F7}"/>
          </ac:spMkLst>
        </pc:spChg>
        <pc:spChg chg="mod">
          <ac:chgData name="Florent Ferizaj" userId="1ac95d67-9df5-47eb-b975-9543de642a3b" providerId="ADAL" clId="{2035A8FE-03FB-427D-B8B6-71890AF85A3C}" dt="2023-10-24T06:56:41.071" v="2159" actId="571"/>
          <ac:spMkLst>
            <pc:docMk/>
            <pc:sldMk cId="3843498221" sldId="941"/>
            <ac:spMk id="86" creationId="{5D4B8D99-73C9-E6C4-94EC-EC7482457ED8}"/>
          </ac:spMkLst>
        </pc:spChg>
        <pc:spChg chg="mod">
          <ac:chgData name="Florent Ferizaj" userId="1ac95d67-9df5-47eb-b975-9543de642a3b" providerId="ADAL" clId="{2035A8FE-03FB-427D-B8B6-71890AF85A3C}" dt="2023-10-24T06:56:41.071" v="2159" actId="571"/>
          <ac:spMkLst>
            <pc:docMk/>
            <pc:sldMk cId="3843498221" sldId="941"/>
            <ac:spMk id="87" creationId="{0CEBBCA4-8DEE-A624-28D3-C4CDF67E4413}"/>
          </ac:spMkLst>
        </pc:spChg>
        <pc:spChg chg="mod">
          <ac:chgData name="Florent Ferizaj" userId="1ac95d67-9df5-47eb-b975-9543de642a3b" providerId="ADAL" clId="{2035A8FE-03FB-427D-B8B6-71890AF85A3C}" dt="2023-10-24T06:56:41.071" v="2159" actId="571"/>
          <ac:spMkLst>
            <pc:docMk/>
            <pc:sldMk cId="3843498221" sldId="941"/>
            <ac:spMk id="88" creationId="{0F650714-05CA-F22C-D5F2-144CFEF8FE2B}"/>
          </ac:spMkLst>
        </pc:spChg>
        <pc:spChg chg="mod">
          <ac:chgData name="Florent Ferizaj" userId="1ac95d67-9df5-47eb-b975-9543de642a3b" providerId="ADAL" clId="{2035A8FE-03FB-427D-B8B6-71890AF85A3C}" dt="2023-10-24T06:56:41.071" v="2159" actId="571"/>
          <ac:spMkLst>
            <pc:docMk/>
            <pc:sldMk cId="3843498221" sldId="941"/>
            <ac:spMk id="89" creationId="{9B0EC640-35A1-E73E-CCAA-F32A5DA50056}"/>
          </ac:spMkLst>
        </pc:spChg>
        <pc:spChg chg="mod">
          <ac:chgData name="Florent Ferizaj" userId="1ac95d67-9df5-47eb-b975-9543de642a3b" providerId="ADAL" clId="{2035A8FE-03FB-427D-B8B6-71890AF85A3C}" dt="2023-10-24T06:56:41.071" v="2159" actId="571"/>
          <ac:spMkLst>
            <pc:docMk/>
            <pc:sldMk cId="3843498221" sldId="941"/>
            <ac:spMk id="90" creationId="{BF143630-0631-2CB8-206A-F852D59FBA8C}"/>
          </ac:spMkLst>
        </pc:spChg>
        <pc:spChg chg="mod">
          <ac:chgData name="Florent Ferizaj" userId="1ac95d67-9df5-47eb-b975-9543de642a3b" providerId="ADAL" clId="{2035A8FE-03FB-427D-B8B6-71890AF85A3C}" dt="2023-10-24T06:56:41.071" v="2159" actId="571"/>
          <ac:spMkLst>
            <pc:docMk/>
            <pc:sldMk cId="3843498221" sldId="941"/>
            <ac:spMk id="91" creationId="{BA774C93-0A41-AC8C-131E-3268B29359A1}"/>
          </ac:spMkLst>
        </pc:spChg>
        <pc:spChg chg="mod">
          <ac:chgData name="Florent Ferizaj" userId="1ac95d67-9df5-47eb-b975-9543de642a3b" providerId="ADAL" clId="{2035A8FE-03FB-427D-B8B6-71890AF85A3C}" dt="2023-10-24T06:56:41.071" v="2159" actId="571"/>
          <ac:spMkLst>
            <pc:docMk/>
            <pc:sldMk cId="3843498221" sldId="941"/>
            <ac:spMk id="92" creationId="{9487406B-377F-EF3E-EEAC-EA26FA34C2B3}"/>
          </ac:spMkLst>
        </pc:spChg>
        <pc:spChg chg="mod">
          <ac:chgData name="Florent Ferizaj" userId="1ac95d67-9df5-47eb-b975-9543de642a3b" providerId="ADAL" clId="{2035A8FE-03FB-427D-B8B6-71890AF85A3C}" dt="2023-10-24T06:56:41.071" v="2159" actId="571"/>
          <ac:spMkLst>
            <pc:docMk/>
            <pc:sldMk cId="3843498221" sldId="941"/>
            <ac:spMk id="94" creationId="{9250752B-DCFE-29B4-753C-CDB347777274}"/>
          </ac:spMkLst>
        </pc:spChg>
        <pc:spChg chg="mod">
          <ac:chgData name="Florent Ferizaj" userId="1ac95d67-9df5-47eb-b975-9543de642a3b" providerId="ADAL" clId="{2035A8FE-03FB-427D-B8B6-71890AF85A3C}" dt="2023-10-24T06:56:41.071" v="2159" actId="571"/>
          <ac:spMkLst>
            <pc:docMk/>
            <pc:sldMk cId="3843498221" sldId="941"/>
            <ac:spMk id="95" creationId="{A58C1C90-A5F6-63B5-BA05-53F8850BC687}"/>
          </ac:spMkLst>
        </pc:spChg>
        <pc:spChg chg="mod">
          <ac:chgData name="Florent Ferizaj" userId="1ac95d67-9df5-47eb-b975-9543de642a3b" providerId="ADAL" clId="{2035A8FE-03FB-427D-B8B6-71890AF85A3C}" dt="2023-10-24T06:56:41.071" v="2159" actId="571"/>
          <ac:spMkLst>
            <pc:docMk/>
            <pc:sldMk cId="3843498221" sldId="941"/>
            <ac:spMk id="96" creationId="{143C479A-9680-979A-D11F-85E38A7E9DDB}"/>
          </ac:spMkLst>
        </pc:spChg>
        <pc:spChg chg="mod">
          <ac:chgData name="Florent Ferizaj" userId="1ac95d67-9df5-47eb-b975-9543de642a3b" providerId="ADAL" clId="{2035A8FE-03FB-427D-B8B6-71890AF85A3C}" dt="2023-10-24T06:56:41.071" v="2159" actId="571"/>
          <ac:spMkLst>
            <pc:docMk/>
            <pc:sldMk cId="3843498221" sldId="941"/>
            <ac:spMk id="97" creationId="{62EE09E9-226B-37DE-1A86-367DBC89A1A7}"/>
          </ac:spMkLst>
        </pc:spChg>
        <pc:spChg chg="mod">
          <ac:chgData name="Florent Ferizaj" userId="1ac95d67-9df5-47eb-b975-9543de642a3b" providerId="ADAL" clId="{2035A8FE-03FB-427D-B8B6-71890AF85A3C}" dt="2023-10-24T06:56:41.071" v="2159" actId="571"/>
          <ac:spMkLst>
            <pc:docMk/>
            <pc:sldMk cId="3843498221" sldId="941"/>
            <ac:spMk id="98" creationId="{33FE09F3-FB7D-0BD2-4EE4-8A696B1D2691}"/>
          </ac:spMkLst>
        </pc:spChg>
        <pc:spChg chg="mod">
          <ac:chgData name="Florent Ferizaj" userId="1ac95d67-9df5-47eb-b975-9543de642a3b" providerId="ADAL" clId="{2035A8FE-03FB-427D-B8B6-71890AF85A3C}" dt="2023-10-24T06:56:41.071" v="2159" actId="571"/>
          <ac:spMkLst>
            <pc:docMk/>
            <pc:sldMk cId="3843498221" sldId="941"/>
            <ac:spMk id="99" creationId="{276EFFD1-DD51-FCCA-29D7-255B50833C5D}"/>
          </ac:spMkLst>
        </pc:spChg>
        <pc:spChg chg="mod">
          <ac:chgData name="Florent Ferizaj" userId="1ac95d67-9df5-47eb-b975-9543de642a3b" providerId="ADAL" clId="{2035A8FE-03FB-427D-B8B6-71890AF85A3C}" dt="2023-10-24T06:56:41.071" v="2159" actId="571"/>
          <ac:spMkLst>
            <pc:docMk/>
            <pc:sldMk cId="3843498221" sldId="941"/>
            <ac:spMk id="100" creationId="{6114C76B-97B6-61C4-8505-DF191571A327}"/>
          </ac:spMkLst>
        </pc:spChg>
        <pc:spChg chg="add mod">
          <ac:chgData name="Florent Ferizaj" userId="1ac95d67-9df5-47eb-b975-9543de642a3b" providerId="ADAL" clId="{2035A8FE-03FB-427D-B8B6-71890AF85A3C}" dt="2023-10-24T06:56:41.071" v="2159" actId="571"/>
          <ac:spMkLst>
            <pc:docMk/>
            <pc:sldMk cId="3843498221" sldId="941"/>
            <ac:spMk id="101" creationId="{0D99D9D3-EE8E-7315-34CD-5362DAB89B8B}"/>
          </ac:spMkLst>
        </pc:spChg>
        <pc:spChg chg="mod">
          <ac:chgData name="Florent Ferizaj" userId="1ac95d67-9df5-47eb-b975-9543de642a3b" providerId="ADAL" clId="{2035A8FE-03FB-427D-B8B6-71890AF85A3C}" dt="2023-10-24T06:56:41.071" v="2159" actId="571"/>
          <ac:spMkLst>
            <pc:docMk/>
            <pc:sldMk cId="3843498221" sldId="941"/>
            <ac:spMk id="103" creationId="{BD044341-B050-4BB2-9F5C-1C7626681AE9}"/>
          </ac:spMkLst>
        </pc:spChg>
        <pc:spChg chg="mod">
          <ac:chgData name="Florent Ferizaj" userId="1ac95d67-9df5-47eb-b975-9543de642a3b" providerId="ADAL" clId="{2035A8FE-03FB-427D-B8B6-71890AF85A3C}" dt="2023-10-24T06:56:41.071" v="2159" actId="571"/>
          <ac:spMkLst>
            <pc:docMk/>
            <pc:sldMk cId="3843498221" sldId="941"/>
            <ac:spMk id="104" creationId="{A7CB8F06-C302-5C9D-9C6C-877C5D600E40}"/>
          </ac:spMkLst>
        </pc:spChg>
        <pc:spChg chg="mod">
          <ac:chgData name="Florent Ferizaj" userId="1ac95d67-9df5-47eb-b975-9543de642a3b" providerId="ADAL" clId="{2035A8FE-03FB-427D-B8B6-71890AF85A3C}" dt="2023-10-24T06:56:41.071" v="2159" actId="571"/>
          <ac:spMkLst>
            <pc:docMk/>
            <pc:sldMk cId="3843498221" sldId="941"/>
            <ac:spMk id="105" creationId="{CEF7B375-D1EA-5FE9-A06B-9CADEAFCFFDF}"/>
          </ac:spMkLst>
        </pc:spChg>
        <pc:spChg chg="mod">
          <ac:chgData name="Florent Ferizaj" userId="1ac95d67-9df5-47eb-b975-9543de642a3b" providerId="ADAL" clId="{2035A8FE-03FB-427D-B8B6-71890AF85A3C}" dt="2023-10-24T06:56:41.071" v="2159" actId="571"/>
          <ac:spMkLst>
            <pc:docMk/>
            <pc:sldMk cId="3843498221" sldId="941"/>
            <ac:spMk id="106" creationId="{387F54F3-85F3-70E6-2BE3-FE73BF7346EF}"/>
          </ac:spMkLst>
        </pc:spChg>
        <pc:spChg chg="mod">
          <ac:chgData name="Florent Ferizaj" userId="1ac95d67-9df5-47eb-b975-9543de642a3b" providerId="ADAL" clId="{2035A8FE-03FB-427D-B8B6-71890AF85A3C}" dt="2023-10-24T06:56:41.071" v="2159" actId="571"/>
          <ac:spMkLst>
            <pc:docMk/>
            <pc:sldMk cId="3843498221" sldId="941"/>
            <ac:spMk id="107" creationId="{138D5561-E082-4D20-66C8-80AFD63E4E86}"/>
          </ac:spMkLst>
        </pc:spChg>
        <pc:spChg chg="mod">
          <ac:chgData name="Florent Ferizaj" userId="1ac95d67-9df5-47eb-b975-9543de642a3b" providerId="ADAL" clId="{2035A8FE-03FB-427D-B8B6-71890AF85A3C}" dt="2023-10-24T06:56:41.071" v="2159" actId="571"/>
          <ac:spMkLst>
            <pc:docMk/>
            <pc:sldMk cId="3843498221" sldId="941"/>
            <ac:spMk id="108" creationId="{88C23705-BAC6-0559-5A50-5CA490EEA124}"/>
          </ac:spMkLst>
        </pc:spChg>
        <pc:spChg chg="mod">
          <ac:chgData name="Florent Ferizaj" userId="1ac95d67-9df5-47eb-b975-9543de642a3b" providerId="ADAL" clId="{2035A8FE-03FB-427D-B8B6-71890AF85A3C}" dt="2023-10-24T06:56:41.071" v="2159" actId="571"/>
          <ac:spMkLst>
            <pc:docMk/>
            <pc:sldMk cId="3843498221" sldId="941"/>
            <ac:spMk id="109" creationId="{66501CCD-5C7E-889C-5A91-3DFD43BA703F}"/>
          </ac:spMkLst>
        </pc:spChg>
        <pc:spChg chg="mod">
          <ac:chgData name="Florent Ferizaj" userId="1ac95d67-9df5-47eb-b975-9543de642a3b" providerId="ADAL" clId="{2035A8FE-03FB-427D-B8B6-71890AF85A3C}" dt="2023-10-24T06:56:41.071" v="2159" actId="571"/>
          <ac:spMkLst>
            <pc:docMk/>
            <pc:sldMk cId="3843498221" sldId="941"/>
            <ac:spMk id="110" creationId="{DC3B2AE6-F4A5-88A6-82E4-307B62D170B5}"/>
          </ac:spMkLst>
        </pc:spChg>
        <pc:spChg chg="add mod">
          <ac:chgData name="Florent Ferizaj" userId="1ac95d67-9df5-47eb-b975-9543de642a3b" providerId="ADAL" clId="{2035A8FE-03FB-427D-B8B6-71890AF85A3C}" dt="2023-10-24T06:56:41.071" v="2159" actId="571"/>
          <ac:spMkLst>
            <pc:docMk/>
            <pc:sldMk cId="3843498221" sldId="941"/>
            <ac:spMk id="111" creationId="{D6B528EC-9F3B-308C-EB1F-38BC8F36A817}"/>
          </ac:spMkLst>
        </pc:spChg>
        <pc:spChg chg="add mod">
          <ac:chgData name="Florent Ferizaj" userId="1ac95d67-9df5-47eb-b975-9543de642a3b" providerId="ADAL" clId="{2035A8FE-03FB-427D-B8B6-71890AF85A3C}" dt="2023-10-24T06:56:41.071" v="2159" actId="571"/>
          <ac:spMkLst>
            <pc:docMk/>
            <pc:sldMk cId="3843498221" sldId="941"/>
            <ac:spMk id="112" creationId="{5BEF6BC9-DF42-20D3-CB16-1ED0EF4FB1FC}"/>
          </ac:spMkLst>
        </pc:spChg>
        <pc:spChg chg="add mod">
          <ac:chgData name="Florent Ferizaj" userId="1ac95d67-9df5-47eb-b975-9543de642a3b" providerId="ADAL" clId="{2035A8FE-03FB-427D-B8B6-71890AF85A3C}" dt="2023-10-24T06:56:41.071" v="2159" actId="571"/>
          <ac:spMkLst>
            <pc:docMk/>
            <pc:sldMk cId="3843498221" sldId="941"/>
            <ac:spMk id="113" creationId="{B006CE8D-3697-D277-B35E-FE82118215E3}"/>
          </ac:spMkLst>
        </pc:spChg>
        <pc:spChg chg="add mod">
          <ac:chgData name="Florent Ferizaj" userId="1ac95d67-9df5-47eb-b975-9543de642a3b" providerId="ADAL" clId="{2035A8FE-03FB-427D-B8B6-71890AF85A3C}" dt="2023-10-23T08:48:23.536" v="1395" actId="14100"/>
          <ac:spMkLst>
            <pc:docMk/>
            <pc:sldMk cId="3843498221" sldId="941"/>
            <ac:spMk id="116" creationId="{64709CA4-E39A-8766-47B1-ABD37DCE8749}"/>
          </ac:spMkLst>
        </pc:spChg>
        <pc:spChg chg="add mod">
          <ac:chgData name="Florent Ferizaj" userId="1ac95d67-9df5-47eb-b975-9543de642a3b" providerId="ADAL" clId="{2035A8FE-03FB-427D-B8B6-71890AF85A3C}" dt="2023-10-23T08:42:46.449" v="1325" actId="14100"/>
          <ac:spMkLst>
            <pc:docMk/>
            <pc:sldMk cId="3843498221" sldId="941"/>
            <ac:spMk id="117" creationId="{3CAA62D3-E5D3-6085-0E01-3A34C3C893A9}"/>
          </ac:spMkLst>
        </pc:spChg>
        <pc:grpChg chg="add del mod">
          <ac:chgData name="Florent Ferizaj" userId="1ac95d67-9df5-47eb-b975-9543de642a3b" providerId="ADAL" clId="{2035A8FE-03FB-427D-B8B6-71890AF85A3C}" dt="2023-10-23T08:40:27.965" v="1270" actId="478"/>
          <ac:grpSpMkLst>
            <pc:docMk/>
            <pc:sldMk cId="3843498221" sldId="941"/>
            <ac:grpSpMk id="3" creationId="{39654DA3-C370-2DA7-1841-799979DE656B}"/>
          </ac:grpSpMkLst>
        </pc:grpChg>
        <pc:grpChg chg="add mod">
          <ac:chgData name="Florent Ferizaj" userId="1ac95d67-9df5-47eb-b975-9543de642a3b" providerId="ADAL" clId="{2035A8FE-03FB-427D-B8B6-71890AF85A3C}" dt="2023-10-23T08:41:43.833" v="1306" actId="164"/>
          <ac:grpSpMkLst>
            <pc:docMk/>
            <pc:sldMk cId="3843498221" sldId="941"/>
            <ac:grpSpMk id="11" creationId="{3AEF66A7-5344-3DB3-E276-26E455D4DF9B}"/>
          </ac:grpSpMkLst>
        </pc:grpChg>
        <pc:grpChg chg="add mod">
          <ac:chgData name="Florent Ferizaj" userId="1ac95d67-9df5-47eb-b975-9543de642a3b" providerId="ADAL" clId="{2035A8FE-03FB-427D-B8B6-71890AF85A3C}" dt="2023-10-23T08:41:43.833" v="1306" actId="164"/>
          <ac:grpSpMkLst>
            <pc:docMk/>
            <pc:sldMk cId="3843498221" sldId="941"/>
            <ac:grpSpMk id="19" creationId="{58F2B866-3F1E-B8E4-1881-DD47C7A6F438}"/>
          </ac:grpSpMkLst>
        </pc:grpChg>
        <pc:grpChg chg="add mod">
          <ac:chgData name="Florent Ferizaj" userId="1ac95d67-9df5-47eb-b975-9543de642a3b" providerId="ADAL" clId="{2035A8FE-03FB-427D-B8B6-71890AF85A3C}" dt="2023-10-23T08:41:43.833" v="1306" actId="164"/>
          <ac:grpSpMkLst>
            <pc:docMk/>
            <pc:sldMk cId="3843498221" sldId="941"/>
            <ac:grpSpMk id="27" creationId="{1C5C673C-CEA8-8938-37BE-91F5E3F9CE21}"/>
          </ac:grpSpMkLst>
        </pc:grpChg>
        <pc:grpChg chg="add mod">
          <ac:chgData name="Florent Ferizaj" userId="1ac95d67-9df5-47eb-b975-9543de642a3b" providerId="ADAL" clId="{2035A8FE-03FB-427D-B8B6-71890AF85A3C}" dt="2023-10-23T08:41:43.833" v="1306" actId="164"/>
          <ac:grpSpMkLst>
            <pc:docMk/>
            <pc:sldMk cId="3843498221" sldId="941"/>
            <ac:grpSpMk id="36" creationId="{3E1846F6-A5FF-669C-C864-24723DE9885E}"/>
          </ac:grpSpMkLst>
        </pc:grpChg>
        <pc:grpChg chg="add del mod">
          <ac:chgData name="Florent Ferizaj" userId="1ac95d67-9df5-47eb-b975-9543de642a3b" providerId="ADAL" clId="{2035A8FE-03FB-427D-B8B6-71890AF85A3C}" dt="2023-10-23T08:41:37.468" v="1303" actId="478"/>
          <ac:grpSpMkLst>
            <pc:docMk/>
            <pc:sldMk cId="3843498221" sldId="941"/>
            <ac:grpSpMk id="50" creationId="{1C84A846-58BA-0A9F-FE25-5C07B3B2619D}"/>
          </ac:grpSpMkLst>
        </pc:grpChg>
        <pc:grpChg chg="add del mod">
          <ac:chgData name="Florent Ferizaj" userId="1ac95d67-9df5-47eb-b975-9543de642a3b" providerId="ADAL" clId="{2035A8FE-03FB-427D-B8B6-71890AF85A3C}" dt="2023-10-23T08:41:34.588" v="1299" actId="478"/>
          <ac:grpSpMkLst>
            <pc:docMk/>
            <pc:sldMk cId="3843498221" sldId="941"/>
            <ac:grpSpMk id="53" creationId="{12D2BB06-C617-62FA-947D-4DE642B775EA}"/>
          </ac:grpSpMkLst>
        </pc:grpChg>
        <pc:grpChg chg="add del mod">
          <ac:chgData name="Florent Ferizaj" userId="1ac95d67-9df5-47eb-b975-9543de642a3b" providerId="ADAL" clId="{2035A8FE-03FB-427D-B8B6-71890AF85A3C}" dt="2023-10-23T08:41:35.851" v="1301" actId="478"/>
          <ac:grpSpMkLst>
            <pc:docMk/>
            <pc:sldMk cId="3843498221" sldId="941"/>
            <ac:grpSpMk id="56" creationId="{3C6286BB-EA46-A8AF-68A4-BDC77E88C9F9}"/>
          </ac:grpSpMkLst>
        </pc:grpChg>
        <pc:grpChg chg="add del mod">
          <ac:chgData name="Florent Ferizaj" userId="1ac95d67-9df5-47eb-b975-9543de642a3b" providerId="ADAL" clId="{2035A8FE-03FB-427D-B8B6-71890AF85A3C}" dt="2023-10-23T08:41:36.170" v="1302" actId="478"/>
          <ac:grpSpMkLst>
            <pc:docMk/>
            <pc:sldMk cId="3843498221" sldId="941"/>
            <ac:grpSpMk id="59" creationId="{FB4004A9-A1E0-BADE-87E8-6EE359157853}"/>
          </ac:grpSpMkLst>
        </pc:grpChg>
        <pc:grpChg chg="add del mod">
          <ac:chgData name="Florent Ferizaj" userId="1ac95d67-9df5-47eb-b975-9543de642a3b" providerId="ADAL" clId="{2035A8FE-03FB-427D-B8B6-71890AF85A3C}" dt="2023-10-23T08:41:33.794" v="1298" actId="478"/>
          <ac:grpSpMkLst>
            <pc:docMk/>
            <pc:sldMk cId="3843498221" sldId="941"/>
            <ac:grpSpMk id="63" creationId="{455E4078-1BE7-E784-AB5F-D1A28F8758BE}"/>
          </ac:grpSpMkLst>
        </pc:grpChg>
        <pc:grpChg chg="add mod">
          <ac:chgData name="Florent Ferizaj" userId="1ac95d67-9df5-47eb-b975-9543de642a3b" providerId="ADAL" clId="{2035A8FE-03FB-427D-B8B6-71890AF85A3C}" dt="2023-10-24T06:56:41.071" v="2159" actId="571"/>
          <ac:grpSpMkLst>
            <pc:docMk/>
            <pc:sldMk cId="3843498221" sldId="941"/>
            <ac:grpSpMk id="71" creationId="{4D222358-45EE-0EC5-157A-B1B8BE341AE6}"/>
          </ac:grpSpMkLst>
        </pc:grpChg>
        <pc:grpChg chg="add mod">
          <ac:chgData name="Florent Ferizaj" userId="1ac95d67-9df5-47eb-b975-9543de642a3b" providerId="ADAL" clId="{2035A8FE-03FB-427D-B8B6-71890AF85A3C}" dt="2023-10-24T06:56:41.071" v="2159" actId="571"/>
          <ac:grpSpMkLst>
            <pc:docMk/>
            <pc:sldMk cId="3843498221" sldId="941"/>
            <ac:grpSpMk id="77" creationId="{EC71B1E7-3CB6-6027-3A59-5B4E160374DF}"/>
          </ac:grpSpMkLst>
        </pc:grpChg>
        <pc:grpChg chg="add mod">
          <ac:chgData name="Florent Ferizaj" userId="1ac95d67-9df5-47eb-b975-9543de642a3b" providerId="ADAL" clId="{2035A8FE-03FB-427D-B8B6-71890AF85A3C}" dt="2023-10-24T06:56:41.071" v="2159" actId="571"/>
          <ac:grpSpMkLst>
            <pc:docMk/>
            <pc:sldMk cId="3843498221" sldId="941"/>
            <ac:grpSpMk id="85" creationId="{042C0274-BAA5-8FE0-D06D-2BA7F44AB226}"/>
          </ac:grpSpMkLst>
        </pc:grpChg>
        <pc:grpChg chg="add mod">
          <ac:chgData name="Florent Ferizaj" userId="1ac95d67-9df5-47eb-b975-9543de642a3b" providerId="ADAL" clId="{2035A8FE-03FB-427D-B8B6-71890AF85A3C}" dt="2023-10-24T06:56:41.071" v="2159" actId="571"/>
          <ac:grpSpMkLst>
            <pc:docMk/>
            <pc:sldMk cId="3843498221" sldId="941"/>
            <ac:grpSpMk id="93" creationId="{46C9B589-56E0-B98D-FE97-85FB4531B87B}"/>
          </ac:grpSpMkLst>
        </pc:grpChg>
        <pc:grpChg chg="add mod">
          <ac:chgData name="Florent Ferizaj" userId="1ac95d67-9df5-47eb-b975-9543de642a3b" providerId="ADAL" clId="{2035A8FE-03FB-427D-B8B6-71890AF85A3C}" dt="2023-10-24T06:56:41.071" v="2159" actId="571"/>
          <ac:grpSpMkLst>
            <pc:docMk/>
            <pc:sldMk cId="3843498221" sldId="941"/>
            <ac:grpSpMk id="102" creationId="{182342A0-E048-BCD4-D971-597AACB4F650}"/>
          </ac:grpSpMkLst>
        </pc:grpChg>
        <pc:grpChg chg="add mod">
          <ac:chgData name="Florent Ferizaj" userId="1ac95d67-9df5-47eb-b975-9543de642a3b" providerId="ADAL" clId="{2035A8FE-03FB-427D-B8B6-71890AF85A3C}" dt="2023-10-24T06:56:41.071" v="2159" actId="571"/>
          <ac:grpSpMkLst>
            <pc:docMk/>
            <pc:sldMk cId="3843498221" sldId="941"/>
            <ac:grpSpMk id="114" creationId="{776E1245-8EA5-3D94-5EBC-51CABC673F91}"/>
          </ac:grpSpMkLst>
        </pc:grpChg>
        <pc:grpChg chg="add mod">
          <ac:chgData name="Florent Ferizaj" userId="1ac95d67-9df5-47eb-b975-9543de642a3b" providerId="ADAL" clId="{2035A8FE-03FB-427D-B8B6-71890AF85A3C}" dt="2023-10-24T06:55:58.993" v="2143" actId="1076"/>
          <ac:grpSpMkLst>
            <pc:docMk/>
            <pc:sldMk cId="3843498221" sldId="941"/>
            <ac:grpSpMk id="115" creationId="{C1A0C40F-7B0F-B6D6-892B-E27A0AA3B8C1}"/>
          </ac:grpSpMkLst>
        </pc:grpChg>
        <pc:picChg chg="add mod">
          <ac:chgData name="Florent Ferizaj" userId="1ac95d67-9df5-47eb-b975-9543de642a3b" providerId="ADAL" clId="{2035A8FE-03FB-427D-B8B6-71890AF85A3C}" dt="2023-10-24T06:56:09.522" v="2153" actId="571"/>
          <ac:picMkLst>
            <pc:docMk/>
            <pc:sldMk cId="3843498221" sldId="941"/>
            <ac:picMk id="2" creationId="{031A0339-3106-7281-DD4B-4C6FD776C577}"/>
          </ac:picMkLst>
        </pc:picChg>
        <pc:picChg chg="add mod">
          <ac:chgData name="Florent Ferizaj" userId="1ac95d67-9df5-47eb-b975-9543de642a3b" providerId="ADAL" clId="{2035A8FE-03FB-427D-B8B6-71890AF85A3C}" dt="2023-10-24T06:56:41.071" v="2159" actId="571"/>
          <ac:picMkLst>
            <pc:docMk/>
            <pc:sldMk cId="3843498221" sldId="941"/>
            <ac:picMk id="3" creationId="{13E5A5ED-3105-7C32-8C7C-64C05AEF3D66}"/>
          </ac:picMkLst>
        </pc:picChg>
        <pc:picChg chg="add mod">
          <ac:chgData name="Florent Ferizaj" userId="1ac95d67-9df5-47eb-b975-9543de642a3b" providerId="ADAL" clId="{2035A8FE-03FB-427D-B8B6-71890AF85A3C}" dt="2023-10-24T06:56:28.622" v="2158" actId="1076"/>
          <ac:picMkLst>
            <pc:docMk/>
            <pc:sldMk cId="3843498221" sldId="941"/>
            <ac:picMk id="7" creationId="{80C11D49-0D1E-4922-FD3D-FC2BCFAD5F5D}"/>
          </ac:picMkLst>
        </pc:picChg>
        <pc:picChg chg="add mod">
          <ac:chgData name="Florent Ferizaj" userId="1ac95d67-9df5-47eb-b975-9543de642a3b" providerId="ADAL" clId="{2035A8FE-03FB-427D-B8B6-71890AF85A3C}" dt="2023-10-24T06:56:26.031" v="2157" actId="1076"/>
          <ac:picMkLst>
            <pc:docMk/>
            <pc:sldMk cId="3843498221" sldId="941"/>
            <ac:picMk id="8" creationId="{D96DB5D8-48CA-BC58-9BF2-FA6BB64622D1}"/>
          </ac:picMkLst>
        </pc:picChg>
        <pc:picChg chg="add del mod">
          <ac:chgData name="Florent Ferizaj" userId="1ac95d67-9df5-47eb-b975-9543de642a3b" providerId="ADAL" clId="{2035A8FE-03FB-427D-B8B6-71890AF85A3C}" dt="2023-10-24T06:56:22.766" v="2156" actId="1076"/>
          <ac:picMkLst>
            <pc:docMk/>
            <pc:sldMk cId="3843498221" sldId="941"/>
            <ac:picMk id="9" creationId="{EFEA3243-3E5B-58F7-0753-65B3B739C310}"/>
          </ac:picMkLst>
        </pc:picChg>
        <pc:picChg chg="add mod">
          <ac:chgData name="Florent Ferizaj" userId="1ac95d67-9df5-47eb-b975-9543de642a3b" providerId="ADAL" clId="{2035A8FE-03FB-427D-B8B6-71890AF85A3C}" dt="2023-10-24T06:56:20.478" v="2155" actId="1076"/>
          <ac:picMkLst>
            <pc:docMk/>
            <pc:sldMk cId="3843498221" sldId="941"/>
            <ac:picMk id="10" creationId="{2B565160-61FC-C6D3-F96E-0A9CF6F53A89}"/>
          </ac:picMkLst>
        </pc:picChg>
        <pc:picChg chg="add mod">
          <ac:chgData name="Florent Ferizaj" userId="1ac95d67-9df5-47eb-b975-9543de642a3b" providerId="ADAL" clId="{2035A8FE-03FB-427D-B8B6-71890AF85A3C}" dt="2023-10-24T06:56:41.071" v="2159" actId="571"/>
          <ac:picMkLst>
            <pc:docMk/>
            <pc:sldMk cId="3843498221" sldId="941"/>
            <ac:picMk id="66" creationId="{0290D037-DE1C-F5CD-6449-EE71D7137B54}"/>
          </ac:picMkLst>
        </pc:picChg>
        <pc:picChg chg="add mod">
          <ac:chgData name="Florent Ferizaj" userId="1ac95d67-9df5-47eb-b975-9543de642a3b" providerId="ADAL" clId="{2035A8FE-03FB-427D-B8B6-71890AF85A3C}" dt="2023-10-24T06:56:41.071" v="2159" actId="571"/>
          <ac:picMkLst>
            <pc:docMk/>
            <pc:sldMk cId="3843498221" sldId="941"/>
            <ac:picMk id="67" creationId="{8A49CD85-9201-2FF5-4184-1E6A1F5872D5}"/>
          </ac:picMkLst>
        </pc:picChg>
        <pc:picChg chg="add mod">
          <ac:chgData name="Florent Ferizaj" userId="1ac95d67-9df5-47eb-b975-9543de642a3b" providerId="ADAL" clId="{2035A8FE-03FB-427D-B8B6-71890AF85A3C}" dt="2023-10-24T06:56:41.071" v="2159" actId="571"/>
          <ac:picMkLst>
            <pc:docMk/>
            <pc:sldMk cId="3843498221" sldId="941"/>
            <ac:picMk id="68" creationId="{B051BDB4-EE35-0AAE-353D-9E9C7C441B72}"/>
          </ac:picMkLst>
        </pc:picChg>
        <pc:picChg chg="add mod">
          <ac:chgData name="Florent Ferizaj" userId="1ac95d67-9df5-47eb-b975-9543de642a3b" providerId="ADAL" clId="{2035A8FE-03FB-427D-B8B6-71890AF85A3C}" dt="2023-10-24T06:56:41.071" v="2159" actId="571"/>
          <ac:picMkLst>
            <pc:docMk/>
            <pc:sldMk cId="3843498221" sldId="941"/>
            <ac:picMk id="69" creationId="{1A440E98-64C6-9354-5E49-3AE0095AC7F7}"/>
          </ac:picMkLst>
        </pc:picChg>
        <pc:picChg chg="add mod">
          <ac:chgData name="Florent Ferizaj" userId="1ac95d67-9df5-47eb-b975-9543de642a3b" providerId="ADAL" clId="{2035A8FE-03FB-427D-B8B6-71890AF85A3C}" dt="2023-10-23T08:41:29.684" v="1297" actId="1076"/>
          <ac:picMkLst>
            <pc:docMk/>
            <pc:sldMk cId="3843498221" sldId="941"/>
            <ac:picMk id="70" creationId="{86476C5E-0180-5DCB-1F12-8B51F1444E84}"/>
          </ac:picMkLst>
        </pc:picChg>
      </pc:sldChg>
      <pc:sldChg chg="addSp delSp modSp new mod">
        <pc:chgData name="Florent Ferizaj" userId="1ac95d67-9df5-47eb-b975-9543de642a3b" providerId="ADAL" clId="{2035A8FE-03FB-427D-B8B6-71890AF85A3C}" dt="2023-10-23T12:35:20.244" v="1763" actId="20577"/>
        <pc:sldMkLst>
          <pc:docMk/>
          <pc:sldMk cId="1682270026" sldId="942"/>
        </pc:sldMkLst>
        <pc:spChg chg="del">
          <ac:chgData name="Florent Ferizaj" userId="1ac95d67-9df5-47eb-b975-9543de642a3b" providerId="ADAL" clId="{2035A8FE-03FB-427D-B8B6-71890AF85A3C}" dt="2023-10-23T08:49:01.210" v="1415" actId="478"/>
          <ac:spMkLst>
            <pc:docMk/>
            <pc:sldMk cId="1682270026" sldId="942"/>
            <ac:spMk id="2" creationId="{895FDD29-6416-9706-D9F2-C30818A8CE0C}"/>
          </ac:spMkLst>
        </pc:spChg>
        <pc:spChg chg="add del mod">
          <ac:chgData name="Florent Ferizaj" userId="1ac95d67-9df5-47eb-b975-9543de642a3b" providerId="ADAL" clId="{2035A8FE-03FB-427D-B8B6-71890AF85A3C}" dt="2023-10-23T08:43:30.893" v="1337"/>
          <ac:spMkLst>
            <pc:docMk/>
            <pc:sldMk cId="1682270026" sldId="942"/>
            <ac:spMk id="3" creationId="{8192BA78-6546-5E84-C810-ED58DDB3E5DA}"/>
          </ac:spMkLst>
        </pc:spChg>
        <pc:spChg chg="add mod">
          <ac:chgData name="Florent Ferizaj" userId="1ac95d67-9df5-47eb-b975-9543de642a3b" providerId="ADAL" clId="{2035A8FE-03FB-427D-B8B6-71890AF85A3C}" dt="2023-10-23T12:35:20.244" v="1763" actId="20577"/>
          <ac:spMkLst>
            <pc:docMk/>
            <pc:sldMk cId="1682270026" sldId="942"/>
            <ac:spMk id="4" creationId="{78747543-1FEB-C3E9-33C3-FCB2BAE59B68}"/>
          </ac:spMkLst>
        </pc:spChg>
        <pc:spChg chg="add mod">
          <ac:chgData name="Florent Ferizaj" userId="1ac95d67-9df5-47eb-b975-9543de642a3b" providerId="ADAL" clId="{2035A8FE-03FB-427D-B8B6-71890AF85A3C}" dt="2023-10-23T08:50:22.536" v="1431" actId="1076"/>
          <ac:spMkLst>
            <pc:docMk/>
            <pc:sldMk cId="1682270026" sldId="942"/>
            <ac:spMk id="5" creationId="{EAF13324-2EC7-FA76-4A40-C0D0A231C709}"/>
          </ac:spMkLst>
        </pc:spChg>
        <pc:spChg chg="add mod ord">
          <ac:chgData name="Florent Ferizaj" userId="1ac95d67-9df5-47eb-b975-9543de642a3b" providerId="ADAL" clId="{2035A8FE-03FB-427D-B8B6-71890AF85A3C}" dt="2023-10-23T08:49:51.488" v="1422" actId="14100"/>
          <ac:spMkLst>
            <pc:docMk/>
            <pc:sldMk cId="1682270026" sldId="942"/>
            <ac:spMk id="7" creationId="{7C3181B5-6245-0223-A21E-A9DC8641E9E7}"/>
          </ac:spMkLst>
        </pc:spChg>
        <pc:picChg chg="add mod">
          <ac:chgData name="Florent Ferizaj" userId="1ac95d67-9df5-47eb-b975-9543de642a3b" providerId="ADAL" clId="{2035A8FE-03FB-427D-B8B6-71890AF85A3C}" dt="2023-10-23T08:50:07.320" v="1428" actId="1076"/>
          <ac:picMkLst>
            <pc:docMk/>
            <pc:sldMk cId="1682270026" sldId="942"/>
            <ac:picMk id="6" creationId="{1011B4AE-45E4-9E2B-C483-42E0F7202791}"/>
          </ac:picMkLst>
        </pc:picChg>
        <pc:picChg chg="add mod">
          <ac:chgData name="Florent Ferizaj" userId="1ac95d67-9df5-47eb-b975-9543de642a3b" providerId="ADAL" clId="{2035A8FE-03FB-427D-B8B6-71890AF85A3C}" dt="2023-10-23T08:49:35.565" v="1418"/>
          <ac:picMkLst>
            <pc:docMk/>
            <pc:sldMk cId="1682270026" sldId="942"/>
            <ac:picMk id="8" creationId="{032E3456-1CFF-66AA-202C-F8808C8EE4F0}"/>
          </ac:picMkLst>
        </pc:picChg>
      </pc:sldChg>
      <pc:sldChg chg="addSp delSp modSp new mod">
        <pc:chgData name="Florent Ferizaj" userId="1ac95d67-9df5-47eb-b975-9543de642a3b" providerId="ADAL" clId="{2035A8FE-03FB-427D-B8B6-71890AF85A3C}" dt="2023-10-23T08:48:05.865" v="1390" actId="1035"/>
        <pc:sldMkLst>
          <pc:docMk/>
          <pc:sldMk cId="3510692577" sldId="943"/>
        </pc:sldMkLst>
        <pc:spChg chg="del">
          <ac:chgData name="Florent Ferizaj" userId="1ac95d67-9df5-47eb-b975-9543de642a3b" providerId="ADAL" clId="{2035A8FE-03FB-427D-B8B6-71890AF85A3C}" dt="2023-10-23T08:46:10.921" v="1355" actId="478"/>
          <ac:spMkLst>
            <pc:docMk/>
            <pc:sldMk cId="3510692577" sldId="943"/>
            <ac:spMk id="2" creationId="{E7096201-D8B6-00B4-7631-DBD1F61BBA21}"/>
          </ac:spMkLst>
        </pc:spChg>
        <pc:spChg chg="del mod topLvl">
          <ac:chgData name="Florent Ferizaj" userId="1ac95d67-9df5-47eb-b975-9543de642a3b" providerId="ADAL" clId="{2035A8FE-03FB-427D-B8B6-71890AF85A3C}" dt="2023-10-23T08:46:45.445" v="1368" actId="478"/>
          <ac:spMkLst>
            <pc:docMk/>
            <pc:sldMk cId="3510692577" sldId="943"/>
            <ac:spMk id="5" creationId="{1DB82F4F-FD99-9F03-FFD6-0F45999AF23D}"/>
          </ac:spMkLst>
        </pc:spChg>
        <pc:spChg chg="mod topLvl">
          <ac:chgData name="Florent Ferizaj" userId="1ac95d67-9df5-47eb-b975-9543de642a3b" providerId="ADAL" clId="{2035A8FE-03FB-427D-B8B6-71890AF85A3C}" dt="2023-10-23T08:48:05.865" v="1390" actId="1035"/>
          <ac:spMkLst>
            <pc:docMk/>
            <pc:sldMk cId="3510692577" sldId="943"/>
            <ac:spMk id="6" creationId="{A0896D8A-842A-7BCF-A042-9BCCE7767652}"/>
          </ac:spMkLst>
        </pc:spChg>
        <pc:spChg chg="mod topLvl">
          <ac:chgData name="Florent Ferizaj" userId="1ac95d67-9df5-47eb-b975-9543de642a3b" providerId="ADAL" clId="{2035A8FE-03FB-427D-B8B6-71890AF85A3C}" dt="2023-10-23T08:48:05.865" v="1390" actId="1035"/>
          <ac:spMkLst>
            <pc:docMk/>
            <pc:sldMk cId="3510692577" sldId="943"/>
            <ac:spMk id="7" creationId="{891C1DAF-9B69-F7CA-8DB6-B42A4828AB14}"/>
          </ac:spMkLst>
        </pc:spChg>
        <pc:spChg chg="mod topLvl">
          <ac:chgData name="Florent Ferizaj" userId="1ac95d67-9df5-47eb-b975-9543de642a3b" providerId="ADAL" clId="{2035A8FE-03FB-427D-B8B6-71890AF85A3C}" dt="2023-10-23T08:48:05.865" v="1390" actId="1035"/>
          <ac:spMkLst>
            <pc:docMk/>
            <pc:sldMk cId="3510692577" sldId="943"/>
            <ac:spMk id="8" creationId="{0079B259-F7DC-5F9C-7A14-8CE4F61D9868}"/>
          </ac:spMkLst>
        </pc:spChg>
        <pc:spChg chg="mod topLvl">
          <ac:chgData name="Florent Ferizaj" userId="1ac95d67-9df5-47eb-b975-9543de642a3b" providerId="ADAL" clId="{2035A8FE-03FB-427D-B8B6-71890AF85A3C}" dt="2023-10-23T08:48:05.865" v="1390" actId="1035"/>
          <ac:spMkLst>
            <pc:docMk/>
            <pc:sldMk cId="3510692577" sldId="943"/>
            <ac:spMk id="9" creationId="{DCC9B168-2850-59B2-CBDB-D4903891357C}"/>
          </ac:spMkLst>
        </pc:spChg>
        <pc:spChg chg="mod topLvl">
          <ac:chgData name="Florent Ferizaj" userId="1ac95d67-9df5-47eb-b975-9543de642a3b" providerId="ADAL" clId="{2035A8FE-03FB-427D-B8B6-71890AF85A3C}" dt="2023-10-23T08:48:05.865" v="1390" actId="1035"/>
          <ac:spMkLst>
            <pc:docMk/>
            <pc:sldMk cId="3510692577" sldId="943"/>
            <ac:spMk id="10" creationId="{02A5D70B-2213-9C76-960C-22EB0EB0C878}"/>
          </ac:spMkLst>
        </pc:spChg>
        <pc:spChg chg="mod topLvl">
          <ac:chgData name="Florent Ferizaj" userId="1ac95d67-9df5-47eb-b975-9543de642a3b" providerId="ADAL" clId="{2035A8FE-03FB-427D-B8B6-71890AF85A3C}" dt="2023-10-23T08:48:05.865" v="1390" actId="1035"/>
          <ac:spMkLst>
            <pc:docMk/>
            <pc:sldMk cId="3510692577" sldId="943"/>
            <ac:spMk id="11" creationId="{C3264B60-9699-3196-21DF-8A053211D163}"/>
          </ac:spMkLst>
        </pc:spChg>
        <pc:spChg chg="mod topLvl">
          <ac:chgData name="Florent Ferizaj" userId="1ac95d67-9df5-47eb-b975-9543de642a3b" providerId="ADAL" clId="{2035A8FE-03FB-427D-B8B6-71890AF85A3C}" dt="2023-10-23T08:48:05.865" v="1390" actId="1035"/>
          <ac:spMkLst>
            <pc:docMk/>
            <pc:sldMk cId="3510692577" sldId="943"/>
            <ac:spMk id="12" creationId="{3AB0BAA3-D2EF-10A2-484C-E32C18859A7E}"/>
          </ac:spMkLst>
        </pc:spChg>
        <pc:spChg chg="mod topLvl">
          <ac:chgData name="Florent Ferizaj" userId="1ac95d67-9df5-47eb-b975-9543de642a3b" providerId="ADAL" clId="{2035A8FE-03FB-427D-B8B6-71890AF85A3C}" dt="2023-10-23T08:48:05.865" v="1390" actId="1035"/>
          <ac:spMkLst>
            <pc:docMk/>
            <pc:sldMk cId="3510692577" sldId="943"/>
            <ac:spMk id="13" creationId="{09E5DD57-F764-992D-DDA4-D218F67476A4}"/>
          </ac:spMkLst>
        </pc:spChg>
        <pc:spChg chg="mod topLvl">
          <ac:chgData name="Florent Ferizaj" userId="1ac95d67-9df5-47eb-b975-9543de642a3b" providerId="ADAL" clId="{2035A8FE-03FB-427D-B8B6-71890AF85A3C}" dt="2023-10-23T08:48:05.865" v="1390" actId="1035"/>
          <ac:spMkLst>
            <pc:docMk/>
            <pc:sldMk cId="3510692577" sldId="943"/>
            <ac:spMk id="14" creationId="{67B5DF65-8A3D-69AE-C12C-B2354A0A0375}"/>
          </ac:spMkLst>
        </pc:spChg>
        <pc:spChg chg="mod topLvl">
          <ac:chgData name="Florent Ferizaj" userId="1ac95d67-9df5-47eb-b975-9543de642a3b" providerId="ADAL" clId="{2035A8FE-03FB-427D-B8B6-71890AF85A3C}" dt="2023-10-23T08:48:05.865" v="1390" actId="1035"/>
          <ac:spMkLst>
            <pc:docMk/>
            <pc:sldMk cId="3510692577" sldId="943"/>
            <ac:spMk id="15" creationId="{E97D2DF3-569C-9CDE-6C0C-54DBAD6D28F6}"/>
          </ac:spMkLst>
        </pc:spChg>
        <pc:spChg chg="mod topLvl">
          <ac:chgData name="Florent Ferizaj" userId="1ac95d67-9df5-47eb-b975-9543de642a3b" providerId="ADAL" clId="{2035A8FE-03FB-427D-B8B6-71890AF85A3C}" dt="2023-10-23T08:48:05.865" v="1390" actId="1035"/>
          <ac:spMkLst>
            <pc:docMk/>
            <pc:sldMk cId="3510692577" sldId="943"/>
            <ac:spMk id="16" creationId="{5D61CF11-A973-310E-9A76-8060541451CB}"/>
          </ac:spMkLst>
        </pc:spChg>
        <pc:spChg chg="mod topLvl">
          <ac:chgData name="Florent Ferizaj" userId="1ac95d67-9df5-47eb-b975-9543de642a3b" providerId="ADAL" clId="{2035A8FE-03FB-427D-B8B6-71890AF85A3C}" dt="2023-10-23T08:48:05.865" v="1390" actId="1035"/>
          <ac:spMkLst>
            <pc:docMk/>
            <pc:sldMk cId="3510692577" sldId="943"/>
            <ac:spMk id="17" creationId="{3785114E-16BB-0F0F-FE1A-1532B3AFEECD}"/>
          </ac:spMkLst>
        </pc:spChg>
        <pc:spChg chg="mod topLvl">
          <ac:chgData name="Florent Ferizaj" userId="1ac95d67-9df5-47eb-b975-9543de642a3b" providerId="ADAL" clId="{2035A8FE-03FB-427D-B8B6-71890AF85A3C}" dt="2023-10-23T08:48:05.865" v="1390" actId="1035"/>
          <ac:spMkLst>
            <pc:docMk/>
            <pc:sldMk cId="3510692577" sldId="943"/>
            <ac:spMk id="18" creationId="{A6A7F42F-79CA-17A8-8E8C-C8638D7F5254}"/>
          </ac:spMkLst>
        </pc:spChg>
        <pc:spChg chg="mod topLvl">
          <ac:chgData name="Florent Ferizaj" userId="1ac95d67-9df5-47eb-b975-9543de642a3b" providerId="ADAL" clId="{2035A8FE-03FB-427D-B8B6-71890AF85A3C}" dt="2023-10-23T08:48:05.865" v="1390" actId="1035"/>
          <ac:spMkLst>
            <pc:docMk/>
            <pc:sldMk cId="3510692577" sldId="943"/>
            <ac:spMk id="19" creationId="{741103B9-58D4-0E0B-058D-7D1F7C5C6059}"/>
          </ac:spMkLst>
        </pc:spChg>
        <pc:spChg chg="mod topLvl">
          <ac:chgData name="Florent Ferizaj" userId="1ac95d67-9df5-47eb-b975-9543de642a3b" providerId="ADAL" clId="{2035A8FE-03FB-427D-B8B6-71890AF85A3C}" dt="2023-10-23T08:48:05.865" v="1390" actId="1035"/>
          <ac:spMkLst>
            <pc:docMk/>
            <pc:sldMk cId="3510692577" sldId="943"/>
            <ac:spMk id="21" creationId="{45BA8270-C7B5-52DB-2AF0-7BB21702EE33}"/>
          </ac:spMkLst>
        </pc:spChg>
        <pc:spChg chg="mod topLvl">
          <ac:chgData name="Florent Ferizaj" userId="1ac95d67-9df5-47eb-b975-9543de642a3b" providerId="ADAL" clId="{2035A8FE-03FB-427D-B8B6-71890AF85A3C}" dt="2023-10-23T08:48:05.865" v="1390" actId="1035"/>
          <ac:spMkLst>
            <pc:docMk/>
            <pc:sldMk cId="3510692577" sldId="943"/>
            <ac:spMk id="22" creationId="{F55BB1A3-8256-177D-A773-98FD8917D7BD}"/>
          </ac:spMkLst>
        </pc:spChg>
        <pc:spChg chg="mod topLvl">
          <ac:chgData name="Florent Ferizaj" userId="1ac95d67-9df5-47eb-b975-9543de642a3b" providerId="ADAL" clId="{2035A8FE-03FB-427D-B8B6-71890AF85A3C}" dt="2023-10-23T08:48:05.865" v="1390" actId="1035"/>
          <ac:spMkLst>
            <pc:docMk/>
            <pc:sldMk cId="3510692577" sldId="943"/>
            <ac:spMk id="23" creationId="{EDF0684A-3D06-2285-7EDE-9AD6B5BABEE3}"/>
          </ac:spMkLst>
        </pc:spChg>
        <pc:spChg chg="mod topLvl">
          <ac:chgData name="Florent Ferizaj" userId="1ac95d67-9df5-47eb-b975-9543de642a3b" providerId="ADAL" clId="{2035A8FE-03FB-427D-B8B6-71890AF85A3C}" dt="2023-10-23T08:48:05.865" v="1390" actId="1035"/>
          <ac:spMkLst>
            <pc:docMk/>
            <pc:sldMk cId="3510692577" sldId="943"/>
            <ac:spMk id="24" creationId="{E32D6A6C-D49A-3B2A-AB9E-2FB4BFBBE4C7}"/>
          </ac:spMkLst>
        </pc:spChg>
        <pc:spChg chg="mod topLvl">
          <ac:chgData name="Florent Ferizaj" userId="1ac95d67-9df5-47eb-b975-9543de642a3b" providerId="ADAL" clId="{2035A8FE-03FB-427D-B8B6-71890AF85A3C}" dt="2023-10-23T08:48:05.865" v="1390" actId="1035"/>
          <ac:spMkLst>
            <pc:docMk/>
            <pc:sldMk cId="3510692577" sldId="943"/>
            <ac:spMk id="25" creationId="{C50992DD-047D-26FD-8F93-C0D40AA72F23}"/>
          </ac:spMkLst>
        </pc:spChg>
        <pc:spChg chg="mod">
          <ac:chgData name="Florent Ferizaj" userId="1ac95d67-9df5-47eb-b975-9543de642a3b" providerId="ADAL" clId="{2035A8FE-03FB-427D-B8B6-71890AF85A3C}" dt="2023-10-23T08:46:42.668" v="1367" actId="165"/>
          <ac:spMkLst>
            <pc:docMk/>
            <pc:sldMk cId="3510692577" sldId="943"/>
            <ac:spMk id="26" creationId="{5307F64C-E111-EC0A-FBBB-BB9A268C23A7}"/>
          </ac:spMkLst>
        </pc:spChg>
        <pc:spChg chg="mod">
          <ac:chgData name="Florent Ferizaj" userId="1ac95d67-9df5-47eb-b975-9543de642a3b" providerId="ADAL" clId="{2035A8FE-03FB-427D-B8B6-71890AF85A3C}" dt="2023-10-23T08:46:42.668" v="1367" actId="165"/>
          <ac:spMkLst>
            <pc:docMk/>
            <pc:sldMk cId="3510692577" sldId="943"/>
            <ac:spMk id="27" creationId="{5571DB8A-1476-1D00-1C70-4F89ECCB61BE}"/>
          </ac:spMkLst>
        </pc:spChg>
        <pc:spChg chg="add mod">
          <ac:chgData name="Florent Ferizaj" userId="1ac95d67-9df5-47eb-b975-9543de642a3b" providerId="ADAL" clId="{2035A8FE-03FB-427D-B8B6-71890AF85A3C}" dt="2023-10-23T08:46:31.282" v="1365" actId="1076"/>
          <ac:spMkLst>
            <pc:docMk/>
            <pc:sldMk cId="3510692577" sldId="943"/>
            <ac:spMk id="29" creationId="{504A128C-7E97-AC44-8012-C14FCF833E4B}"/>
          </ac:spMkLst>
        </pc:spChg>
        <pc:grpChg chg="add del mod">
          <ac:chgData name="Florent Ferizaj" userId="1ac95d67-9df5-47eb-b975-9543de642a3b" providerId="ADAL" clId="{2035A8FE-03FB-427D-B8B6-71890AF85A3C}" dt="2023-10-23T08:46:42.668" v="1367" actId="165"/>
          <ac:grpSpMkLst>
            <pc:docMk/>
            <pc:sldMk cId="3510692577" sldId="943"/>
            <ac:grpSpMk id="3" creationId="{7070E562-224C-C81C-3744-2D4C9540B665}"/>
          </ac:grpSpMkLst>
        </pc:grpChg>
        <pc:grpChg chg="mod topLvl">
          <ac:chgData name="Florent Ferizaj" userId="1ac95d67-9df5-47eb-b975-9543de642a3b" providerId="ADAL" clId="{2035A8FE-03FB-427D-B8B6-71890AF85A3C}" dt="2023-10-23T08:48:05.865" v="1390" actId="1035"/>
          <ac:grpSpMkLst>
            <pc:docMk/>
            <pc:sldMk cId="3510692577" sldId="943"/>
            <ac:grpSpMk id="20" creationId="{FE19476C-862D-F13C-4FAF-E15E8E89707C}"/>
          </ac:grpSpMkLst>
        </pc:grpChg>
        <pc:picChg chg="mod topLvl">
          <ac:chgData name="Florent Ferizaj" userId="1ac95d67-9df5-47eb-b975-9543de642a3b" providerId="ADAL" clId="{2035A8FE-03FB-427D-B8B6-71890AF85A3C}" dt="2023-10-23T08:48:05.865" v="1390" actId="1035"/>
          <ac:picMkLst>
            <pc:docMk/>
            <pc:sldMk cId="3510692577" sldId="943"/>
            <ac:picMk id="4" creationId="{E9E3CBC6-2CF2-750E-7197-5F40F4C95C3D}"/>
          </ac:picMkLst>
        </pc:picChg>
      </pc:sldChg>
      <pc:sldChg chg="addSp delSp modSp new mod ord">
        <pc:chgData name="Florent Ferizaj" userId="1ac95d67-9df5-47eb-b975-9543de642a3b" providerId="ADAL" clId="{2035A8FE-03FB-427D-B8B6-71890AF85A3C}" dt="2023-10-23T09:11:12.566" v="1521" actId="1076"/>
        <pc:sldMkLst>
          <pc:docMk/>
          <pc:sldMk cId="4077384922" sldId="944"/>
        </pc:sldMkLst>
        <pc:spChg chg="del">
          <ac:chgData name="Florent Ferizaj" userId="1ac95d67-9df5-47eb-b975-9543de642a3b" providerId="ADAL" clId="{2035A8FE-03FB-427D-B8B6-71890AF85A3C}" dt="2023-10-23T09:09:20.371" v="1436" actId="478"/>
          <ac:spMkLst>
            <pc:docMk/>
            <pc:sldMk cId="4077384922" sldId="944"/>
            <ac:spMk id="2" creationId="{8C718116-9A18-4846-9741-90E875E23152}"/>
          </ac:spMkLst>
        </pc:spChg>
        <pc:spChg chg="add mod">
          <ac:chgData name="Florent Ferizaj" userId="1ac95d67-9df5-47eb-b975-9543de642a3b" providerId="ADAL" clId="{2035A8FE-03FB-427D-B8B6-71890AF85A3C}" dt="2023-10-23T09:09:20.941" v="1437"/>
          <ac:spMkLst>
            <pc:docMk/>
            <pc:sldMk cId="4077384922" sldId="944"/>
            <ac:spMk id="3" creationId="{62E9F99A-3203-54D0-1BA4-F41221E97C94}"/>
          </ac:spMkLst>
        </pc:spChg>
        <pc:spChg chg="add mod">
          <ac:chgData name="Florent Ferizaj" userId="1ac95d67-9df5-47eb-b975-9543de642a3b" providerId="ADAL" clId="{2035A8FE-03FB-427D-B8B6-71890AF85A3C}" dt="2023-10-23T09:11:12.566" v="1521" actId="1076"/>
          <ac:spMkLst>
            <pc:docMk/>
            <pc:sldMk cId="4077384922" sldId="944"/>
            <ac:spMk id="4" creationId="{81B047B0-6EC2-B0E3-ECCF-8BD3DE605B55}"/>
          </ac:spMkLst>
        </pc:spChg>
        <pc:spChg chg="add mod">
          <ac:chgData name="Florent Ferizaj" userId="1ac95d67-9df5-47eb-b975-9543de642a3b" providerId="ADAL" clId="{2035A8FE-03FB-427D-B8B6-71890AF85A3C}" dt="2023-10-23T09:10:33.227" v="1510" actId="1076"/>
          <ac:spMkLst>
            <pc:docMk/>
            <pc:sldMk cId="4077384922" sldId="944"/>
            <ac:spMk id="5" creationId="{C09EE22A-1587-40BD-5990-ADEA5CFEC198}"/>
          </ac:spMkLst>
        </pc:spChg>
        <pc:spChg chg="add mod">
          <ac:chgData name="Florent Ferizaj" userId="1ac95d67-9df5-47eb-b975-9543de642a3b" providerId="ADAL" clId="{2035A8FE-03FB-427D-B8B6-71890AF85A3C}" dt="2023-10-23T09:10:25.884" v="1508" actId="20577"/>
          <ac:spMkLst>
            <pc:docMk/>
            <pc:sldMk cId="4077384922" sldId="944"/>
            <ac:spMk id="7" creationId="{782092AD-3926-9578-5374-35864FF5FD17}"/>
          </ac:spMkLst>
        </pc:spChg>
        <pc:spChg chg="mod">
          <ac:chgData name="Florent Ferizaj" userId="1ac95d67-9df5-47eb-b975-9543de642a3b" providerId="ADAL" clId="{2035A8FE-03FB-427D-B8B6-71890AF85A3C}" dt="2023-10-23T09:11:08.304" v="1518" actId="207"/>
          <ac:spMkLst>
            <pc:docMk/>
            <pc:sldMk cId="4077384922" sldId="944"/>
            <ac:spMk id="9" creationId="{FBECA9F0-615F-CF25-ED6C-2ED3692737CE}"/>
          </ac:spMkLst>
        </pc:spChg>
        <pc:spChg chg="mod">
          <ac:chgData name="Florent Ferizaj" userId="1ac95d67-9df5-47eb-b975-9543de642a3b" providerId="ADAL" clId="{2035A8FE-03FB-427D-B8B6-71890AF85A3C}" dt="2023-10-23T09:11:08.304" v="1518" actId="207"/>
          <ac:spMkLst>
            <pc:docMk/>
            <pc:sldMk cId="4077384922" sldId="944"/>
            <ac:spMk id="10" creationId="{E02DA24B-A782-6B5A-3457-95E4C5C7782F}"/>
          </ac:spMkLst>
        </pc:spChg>
        <pc:spChg chg="mod">
          <ac:chgData name="Florent Ferizaj" userId="1ac95d67-9df5-47eb-b975-9543de642a3b" providerId="ADAL" clId="{2035A8FE-03FB-427D-B8B6-71890AF85A3C}" dt="2023-10-23T09:11:08.304" v="1518" actId="207"/>
          <ac:spMkLst>
            <pc:docMk/>
            <pc:sldMk cId="4077384922" sldId="944"/>
            <ac:spMk id="11" creationId="{7DE4B334-EEE1-AE41-AA0A-8D19993CC4BB}"/>
          </ac:spMkLst>
        </pc:spChg>
        <pc:spChg chg="mod">
          <ac:chgData name="Florent Ferizaj" userId="1ac95d67-9df5-47eb-b975-9543de642a3b" providerId="ADAL" clId="{2035A8FE-03FB-427D-B8B6-71890AF85A3C}" dt="2023-10-23T09:11:08.304" v="1518" actId="207"/>
          <ac:spMkLst>
            <pc:docMk/>
            <pc:sldMk cId="4077384922" sldId="944"/>
            <ac:spMk id="12" creationId="{2A6F2AE1-509A-FE32-2D0A-FC6F1AD5088B}"/>
          </ac:spMkLst>
        </pc:spChg>
        <pc:spChg chg="mod">
          <ac:chgData name="Florent Ferizaj" userId="1ac95d67-9df5-47eb-b975-9543de642a3b" providerId="ADAL" clId="{2035A8FE-03FB-427D-B8B6-71890AF85A3C}" dt="2023-10-23T09:11:08.304" v="1518" actId="207"/>
          <ac:spMkLst>
            <pc:docMk/>
            <pc:sldMk cId="4077384922" sldId="944"/>
            <ac:spMk id="13" creationId="{7CDF7D35-71C0-F696-B683-1C89AF31C131}"/>
          </ac:spMkLst>
        </pc:spChg>
        <pc:spChg chg="mod">
          <ac:chgData name="Florent Ferizaj" userId="1ac95d67-9df5-47eb-b975-9543de642a3b" providerId="ADAL" clId="{2035A8FE-03FB-427D-B8B6-71890AF85A3C}" dt="2023-10-23T09:11:08.304" v="1518" actId="207"/>
          <ac:spMkLst>
            <pc:docMk/>
            <pc:sldMk cId="4077384922" sldId="944"/>
            <ac:spMk id="14" creationId="{D0A36AF0-9F7A-CCC0-F380-E3959FD7C41C}"/>
          </ac:spMkLst>
        </pc:spChg>
        <pc:grpChg chg="add mod">
          <ac:chgData name="Florent Ferizaj" userId="1ac95d67-9df5-47eb-b975-9543de642a3b" providerId="ADAL" clId="{2035A8FE-03FB-427D-B8B6-71890AF85A3C}" dt="2023-10-23T09:11:09.960" v="1519" actId="1076"/>
          <ac:grpSpMkLst>
            <pc:docMk/>
            <pc:sldMk cId="4077384922" sldId="944"/>
            <ac:grpSpMk id="8" creationId="{5A56E9B0-96D0-EAA7-34C7-ABA01ACB4341}"/>
          </ac:grpSpMkLst>
        </pc:grpChg>
        <pc:picChg chg="add mod">
          <ac:chgData name="Florent Ferizaj" userId="1ac95d67-9df5-47eb-b975-9543de642a3b" providerId="ADAL" clId="{2035A8FE-03FB-427D-B8B6-71890AF85A3C}" dt="2023-10-23T09:09:26.067" v="1438"/>
          <ac:picMkLst>
            <pc:docMk/>
            <pc:sldMk cId="4077384922" sldId="944"/>
            <ac:picMk id="6" creationId="{55475717-0481-A8D9-CB1C-07A046A1BC6D}"/>
          </ac:picMkLst>
        </pc:picChg>
      </pc:sldChg>
      <pc:sldChg chg="addSp delSp modSp new mod">
        <pc:chgData name="Florent Ferizaj" userId="1ac95d67-9df5-47eb-b975-9543de642a3b" providerId="ADAL" clId="{2035A8FE-03FB-427D-B8B6-71890AF85A3C}" dt="2023-10-23T09:13:57.010" v="1578" actId="14100"/>
        <pc:sldMkLst>
          <pc:docMk/>
          <pc:sldMk cId="2256317655" sldId="945"/>
        </pc:sldMkLst>
        <pc:spChg chg="del">
          <ac:chgData name="Florent Ferizaj" userId="1ac95d67-9df5-47eb-b975-9543de642a3b" providerId="ADAL" clId="{2035A8FE-03FB-427D-B8B6-71890AF85A3C}" dt="2023-10-23T09:12:53.180" v="1547" actId="478"/>
          <ac:spMkLst>
            <pc:docMk/>
            <pc:sldMk cId="2256317655" sldId="945"/>
            <ac:spMk id="2" creationId="{33A6CBE9-2C4B-D16E-ECB6-2566E37FE351}"/>
          </ac:spMkLst>
        </pc:spChg>
        <pc:spChg chg="add mod">
          <ac:chgData name="Florent Ferizaj" userId="1ac95d67-9df5-47eb-b975-9543de642a3b" providerId="ADAL" clId="{2035A8FE-03FB-427D-B8B6-71890AF85A3C}" dt="2023-10-23T09:13:45.039" v="1575" actId="164"/>
          <ac:spMkLst>
            <pc:docMk/>
            <pc:sldMk cId="2256317655" sldId="945"/>
            <ac:spMk id="3" creationId="{77334E50-F390-43A0-C750-9CDD9665D433}"/>
          </ac:spMkLst>
        </pc:spChg>
        <pc:spChg chg="add mod">
          <ac:chgData name="Florent Ferizaj" userId="1ac95d67-9df5-47eb-b975-9543de642a3b" providerId="ADAL" clId="{2035A8FE-03FB-427D-B8B6-71890AF85A3C}" dt="2023-10-23T09:13:45.039" v="1575" actId="164"/>
          <ac:spMkLst>
            <pc:docMk/>
            <pc:sldMk cId="2256317655" sldId="945"/>
            <ac:spMk id="4" creationId="{524A12A0-E362-DBBA-AEF8-9F09C2E374BF}"/>
          </ac:spMkLst>
        </pc:spChg>
        <pc:spChg chg="add mod">
          <ac:chgData name="Florent Ferizaj" userId="1ac95d67-9df5-47eb-b975-9543de642a3b" providerId="ADAL" clId="{2035A8FE-03FB-427D-B8B6-71890AF85A3C}" dt="2023-10-23T09:13:45.039" v="1575" actId="164"/>
          <ac:spMkLst>
            <pc:docMk/>
            <pc:sldMk cId="2256317655" sldId="945"/>
            <ac:spMk id="5" creationId="{E1B5225E-C533-EABB-DF23-0C39DDD0E741}"/>
          </ac:spMkLst>
        </pc:spChg>
        <pc:spChg chg="add mod">
          <ac:chgData name="Florent Ferizaj" userId="1ac95d67-9df5-47eb-b975-9543de642a3b" providerId="ADAL" clId="{2035A8FE-03FB-427D-B8B6-71890AF85A3C}" dt="2023-10-23T09:13:45.039" v="1575" actId="164"/>
          <ac:spMkLst>
            <pc:docMk/>
            <pc:sldMk cId="2256317655" sldId="945"/>
            <ac:spMk id="6" creationId="{B792B40C-B637-7D77-03F8-F64F00B82D3B}"/>
          </ac:spMkLst>
        </pc:spChg>
        <pc:spChg chg="add mod">
          <ac:chgData name="Florent Ferizaj" userId="1ac95d67-9df5-47eb-b975-9543de642a3b" providerId="ADAL" clId="{2035A8FE-03FB-427D-B8B6-71890AF85A3C}" dt="2023-10-23T09:13:45.039" v="1575" actId="164"/>
          <ac:spMkLst>
            <pc:docMk/>
            <pc:sldMk cId="2256317655" sldId="945"/>
            <ac:spMk id="7" creationId="{A2CEFB3A-5613-4E36-8EA5-390CAB7596A3}"/>
          </ac:spMkLst>
        </pc:spChg>
        <pc:spChg chg="add mod">
          <ac:chgData name="Florent Ferizaj" userId="1ac95d67-9df5-47eb-b975-9543de642a3b" providerId="ADAL" clId="{2035A8FE-03FB-427D-B8B6-71890AF85A3C}" dt="2023-10-23T09:13:57.010" v="1578" actId="14100"/>
          <ac:spMkLst>
            <pc:docMk/>
            <pc:sldMk cId="2256317655" sldId="945"/>
            <ac:spMk id="8" creationId="{65891A73-E7E3-A2AB-C9D0-AE2F838B5875}"/>
          </ac:spMkLst>
        </pc:spChg>
        <pc:spChg chg="add mod">
          <ac:chgData name="Florent Ferizaj" userId="1ac95d67-9df5-47eb-b975-9543de642a3b" providerId="ADAL" clId="{2035A8FE-03FB-427D-B8B6-71890AF85A3C}" dt="2023-10-23T09:13:45.039" v="1575" actId="164"/>
          <ac:spMkLst>
            <pc:docMk/>
            <pc:sldMk cId="2256317655" sldId="945"/>
            <ac:spMk id="9" creationId="{3FDF480C-EB39-FF20-BA62-C43859FA86AE}"/>
          </ac:spMkLst>
        </pc:spChg>
        <pc:spChg chg="add mod">
          <ac:chgData name="Florent Ferizaj" userId="1ac95d67-9df5-47eb-b975-9543de642a3b" providerId="ADAL" clId="{2035A8FE-03FB-427D-B8B6-71890AF85A3C}" dt="2023-10-23T09:13:45.039" v="1575" actId="164"/>
          <ac:spMkLst>
            <pc:docMk/>
            <pc:sldMk cId="2256317655" sldId="945"/>
            <ac:spMk id="11" creationId="{A930D281-1AFA-CD5A-13E5-405258FCD7F1}"/>
          </ac:spMkLst>
        </pc:spChg>
        <pc:spChg chg="add mod">
          <ac:chgData name="Florent Ferizaj" userId="1ac95d67-9df5-47eb-b975-9543de642a3b" providerId="ADAL" clId="{2035A8FE-03FB-427D-B8B6-71890AF85A3C}" dt="2023-10-23T09:13:45.039" v="1575" actId="164"/>
          <ac:spMkLst>
            <pc:docMk/>
            <pc:sldMk cId="2256317655" sldId="945"/>
            <ac:spMk id="12" creationId="{5766B223-07DE-56CA-A596-7C6933A9581A}"/>
          </ac:spMkLst>
        </pc:spChg>
        <pc:spChg chg="add mod">
          <ac:chgData name="Florent Ferizaj" userId="1ac95d67-9df5-47eb-b975-9543de642a3b" providerId="ADAL" clId="{2035A8FE-03FB-427D-B8B6-71890AF85A3C}" dt="2023-10-23T09:13:45.039" v="1575" actId="164"/>
          <ac:spMkLst>
            <pc:docMk/>
            <pc:sldMk cId="2256317655" sldId="945"/>
            <ac:spMk id="13" creationId="{5737D927-703B-3E8A-AD9D-ACA11E91A245}"/>
          </ac:spMkLst>
        </pc:spChg>
        <pc:spChg chg="add mod">
          <ac:chgData name="Florent Ferizaj" userId="1ac95d67-9df5-47eb-b975-9543de642a3b" providerId="ADAL" clId="{2035A8FE-03FB-427D-B8B6-71890AF85A3C}" dt="2023-10-23T09:13:45.039" v="1575" actId="164"/>
          <ac:spMkLst>
            <pc:docMk/>
            <pc:sldMk cId="2256317655" sldId="945"/>
            <ac:spMk id="14" creationId="{FFA4C514-C44C-F4AE-61B7-0CF5F212CAE9}"/>
          </ac:spMkLst>
        </pc:spChg>
        <pc:spChg chg="add mod">
          <ac:chgData name="Florent Ferizaj" userId="1ac95d67-9df5-47eb-b975-9543de642a3b" providerId="ADAL" clId="{2035A8FE-03FB-427D-B8B6-71890AF85A3C}" dt="2023-10-23T09:13:45.039" v="1575" actId="164"/>
          <ac:spMkLst>
            <pc:docMk/>
            <pc:sldMk cId="2256317655" sldId="945"/>
            <ac:spMk id="15" creationId="{74AF8710-B147-A5D4-CB14-D49A2F457CC1}"/>
          </ac:spMkLst>
        </pc:spChg>
        <pc:spChg chg="add mod">
          <ac:chgData name="Florent Ferizaj" userId="1ac95d67-9df5-47eb-b975-9543de642a3b" providerId="ADAL" clId="{2035A8FE-03FB-427D-B8B6-71890AF85A3C}" dt="2023-10-23T09:13:45.039" v="1575" actId="164"/>
          <ac:spMkLst>
            <pc:docMk/>
            <pc:sldMk cId="2256317655" sldId="945"/>
            <ac:spMk id="16" creationId="{4445264D-DF7A-5394-03AA-BDA35910D651}"/>
          </ac:spMkLst>
        </pc:spChg>
        <pc:spChg chg="add mod">
          <ac:chgData name="Florent Ferizaj" userId="1ac95d67-9df5-47eb-b975-9543de642a3b" providerId="ADAL" clId="{2035A8FE-03FB-427D-B8B6-71890AF85A3C}" dt="2023-10-23T09:13:45.039" v="1575" actId="164"/>
          <ac:spMkLst>
            <pc:docMk/>
            <pc:sldMk cId="2256317655" sldId="945"/>
            <ac:spMk id="17" creationId="{F504ED8D-A6FF-CB3E-0358-192CD0FB66CA}"/>
          </ac:spMkLst>
        </pc:spChg>
        <pc:spChg chg="add mod">
          <ac:chgData name="Florent Ferizaj" userId="1ac95d67-9df5-47eb-b975-9543de642a3b" providerId="ADAL" clId="{2035A8FE-03FB-427D-B8B6-71890AF85A3C}" dt="2023-10-23T09:13:45.039" v="1575" actId="164"/>
          <ac:spMkLst>
            <pc:docMk/>
            <pc:sldMk cId="2256317655" sldId="945"/>
            <ac:spMk id="18" creationId="{003C1E86-4539-1A88-3B62-C7DC55A8E0C4}"/>
          </ac:spMkLst>
        </pc:spChg>
        <pc:spChg chg="add mod">
          <ac:chgData name="Florent Ferizaj" userId="1ac95d67-9df5-47eb-b975-9543de642a3b" providerId="ADAL" clId="{2035A8FE-03FB-427D-B8B6-71890AF85A3C}" dt="2023-10-23T09:13:45.039" v="1575" actId="164"/>
          <ac:spMkLst>
            <pc:docMk/>
            <pc:sldMk cId="2256317655" sldId="945"/>
            <ac:spMk id="19" creationId="{C5E9F0EC-5A73-2D88-CA54-DEDD80175E04}"/>
          </ac:spMkLst>
        </pc:spChg>
        <pc:spChg chg="add mod">
          <ac:chgData name="Florent Ferizaj" userId="1ac95d67-9df5-47eb-b975-9543de642a3b" providerId="ADAL" clId="{2035A8FE-03FB-427D-B8B6-71890AF85A3C}" dt="2023-10-23T09:13:45.039" v="1575" actId="164"/>
          <ac:spMkLst>
            <pc:docMk/>
            <pc:sldMk cId="2256317655" sldId="945"/>
            <ac:spMk id="20" creationId="{663A3DEA-CC38-76C7-5CB7-3263E6F8FB0F}"/>
          </ac:spMkLst>
        </pc:spChg>
        <pc:spChg chg="add mod">
          <ac:chgData name="Florent Ferizaj" userId="1ac95d67-9df5-47eb-b975-9543de642a3b" providerId="ADAL" clId="{2035A8FE-03FB-427D-B8B6-71890AF85A3C}" dt="2023-10-23T09:13:28.268" v="1571" actId="1076"/>
          <ac:spMkLst>
            <pc:docMk/>
            <pc:sldMk cId="2256317655" sldId="945"/>
            <ac:spMk id="21" creationId="{98C8B16B-7B8B-E420-A9DA-0220A17222C4}"/>
          </ac:spMkLst>
        </pc:spChg>
        <pc:grpChg chg="add mod">
          <ac:chgData name="Florent Ferizaj" userId="1ac95d67-9df5-47eb-b975-9543de642a3b" providerId="ADAL" clId="{2035A8FE-03FB-427D-B8B6-71890AF85A3C}" dt="2023-10-23T09:13:51.168" v="1577" actId="1076"/>
          <ac:grpSpMkLst>
            <pc:docMk/>
            <pc:sldMk cId="2256317655" sldId="945"/>
            <ac:grpSpMk id="22" creationId="{0659C1CC-35C6-AC8B-085E-540DD5FB2D5C}"/>
          </ac:grpSpMkLst>
        </pc:grpChg>
        <pc:picChg chg="add mod">
          <ac:chgData name="Florent Ferizaj" userId="1ac95d67-9df5-47eb-b975-9543de642a3b" providerId="ADAL" clId="{2035A8FE-03FB-427D-B8B6-71890AF85A3C}" dt="2023-10-23T09:13:45.039" v="1575" actId="164"/>
          <ac:picMkLst>
            <pc:docMk/>
            <pc:sldMk cId="2256317655" sldId="945"/>
            <ac:picMk id="10" creationId="{167020F7-28C9-308F-9340-6DFF751CF3CD}"/>
          </ac:picMkLst>
        </pc:picChg>
      </pc:sldChg>
      <pc:sldChg chg="new del">
        <pc:chgData name="Florent Ferizaj" userId="1ac95d67-9df5-47eb-b975-9543de642a3b" providerId="ADAL" clId="{2035A8FE-03FB-427D-B8B6-71890AF85A3C}" dt="2023-10-23T09:12:49.771" v="1545" actId="680"/>
        <pc:sldMkLst>
          <pc:docMk/>
          <pc:sldMk cId="2815894612" sldId="945"/>
        </pc:sldMkLst>
      </pc:sldChg>
      <pc:sldChg chg="addSp delSp modSp new mod">
        <pc:chgData name="Florent Ferizaj" userId="1ac95d67-9df5-47eb-b975-9543de642a3b" providerId="ADAL" clId="{2035A8FE-03FB-427D-B8B6-71890AF85A3C}" dt="2023-10-31T10:20:20.888" v="2462" actId="20577"/>
        <pc:sldMkLst>
          <pc:docMk/>
          <pc:sldMk cId="2498661594" sldId="946"/>
        </pc:sldMkLst>
        <pc:spChg chg="del">
          <ac:chgData name="Florent Ferizaj" userId="1ac95d67-9df5-47eb-b975-9543de642a3b" providerId="ADAL" clId="{2035A8FE-03FB-427D-B8B6-71890AF85A3C}" dt="2023-10-23T12:19:05.229" v="1589" actId="478"/>
          <ac:spMkLst>
            <pc:docMk/>
            <pc:sldMk cId="2498661594" sldId="946"/>
            <ac:spMk id="2" creationId="{1BB3EE41-D65B-C18B-E1B7-216398C8E702}"/>
          </ac:spMkLst>
        </pc:spChg>
        <pc:spChg chg="add mod">
          <ac:chgData name="Florent Ferizaj" userId="1ac95d67-9df5-47eb-b975-9543de642a3b" providerId="ADAL" clId="{2035A8FE-03FB-427D-B8B6-71890AF85A3C}" dt="2023-10-31T10:19:38.013" v="2454" actId="571"/>
          <ac:spMkLst>
            <pc:docMk/>
            <pc:sldMk cId="2498661594" sldId="946"/>
            <ac:spMk id="2" creationId="{BB6B16BA-BCCC-E6F2-286E-1BAA801A3D9D}"/>
          </ac:spMkLst>
        </pc:spChg>
        <pc:spChg chg="mod topLvl">
          <ac:chgData name="Florent Ferizaj" userId="1ac95d67-9df5-47eb-b975-9543de642a3b" providerId="ADAL" clId="{2035A8FE-03FB-427D-B8B6-71890AF85A3C}" dt="2023-10-31T10:19:38.013" v="2454" actId="571"/>
          <ac:spMkLst>
            <pc:docMk/>
            <pc:sldMk cId="2498661594" sldId="946"/>
            <ac:spMk id="4" creationId="{D028D92D-A303-D237-6A1C-6E19D9A5294B}"/>
          </ac:spMkLst>
        </pc:spChg>
        <pc:spChg chg="mod topLvl">
          <ac:chgData name="Florent Ferizaj" userId="1ac95d67-9df5-47eb-b975-9543de642a3b" providerId="ADAL" clId="{2035A8FE-03FB-427D-B8B6-71890AF85A3C}" dt="2023-10-31T10:19:38.013" v="2454" actId="571"/>
          <ac:spMkLst>
            <pc:docMk/>
            <pc:sldMk cId="2498661594" sldId="946"/>
            <ac:spMk id="5" creationId="{092D4188-0D3E-CCA2-4F5C-4FD95539A6B7}"/>
          </ac:spMkLst>
        </pc:spChg>
        <pc:spChg chg="mod topLvl">
          <ac:chgData name="Florent Ferizaj" userId="1ac95d67-9df5-47eb-b975-9543de642a3b" providerId="ADAL" clId="{2035A8FE-03FB-427D-B8B6-71890AF85A3C}" dt="2023-10-31T10:19:38.013" v="2454" actId="571"/>
          <ac:spMkLst>
            <pc:docMk/>
            <pc:sldMk cId="2498661594" sldId="946"/>
            <ac:spMk id="6" creationId="{E0C08C3F-9268-E695-6F94-E9C8E7BD9E76}"/>
          </ac:spMkLst>
        </pc:spChg>
        <pc:spChg chg="mod topLvl">
          <ac:chgData name="Florent Ferizaj" userId="1ac95d67-9df5-47eb-b975-9543de642a3b" providerId="ADAL" clId="{2035A8FE-03FB-427D-B8B6-71890AF85A3C}" dt="2023-10-31T10:19:38.013" v="2454" actId="571"/>
          <ac:spMkLst>
            <pc:docMk/>
            <pc:sldMk cId="2498661594" sldId="946"/>
            <ac:spMk id="7" creationId="{2F5108CB-3C95-DC48-770C-F17BBDC7538E}"/>
          </ac:spMkLst>
        </pc:spChg>
        <pc:spChg chg="mod topLvl">
          <ac:chgData name="Florent Ferizaj" userId="1ac95d67-9df5-47eb-b975-9543de642a3b" providerId="ADAL" clId="{2035A8FE-03FB-427D-B8B6-71890AF85A3C}" dt="2023-10-31T10:20:20.888" v="2462" actId="20577"/>
          <ac:spMkLst>
            <pc:docMk/>
            <pc:sldMk cId="2498661594" sldId="946"/>
            <ac:spMk id="8" creationId="{8BA56B19-01D6-123A-EC23-606D61AE976A}"/>
          </ac:spMkLst>
        </pc:spChg>
        <pc:spChg chg="mod topLvl">
          <ac:chgData name="Florent Ferizaj" userId="1ac95d67-9df5-47eb-b975-9543de642a3b" providerId="ADAL" clId="{2035A8FE-03FB-427D-B8B6-71890AF85A3C}" dt="2023-10-31T10:19:38.013" v="2454" actId="571"/>
          <ac:spMkLst>
            <pc:docMk/>
            <pc:sldMk cId="2498661594" sldId="946"/>
            <ac:spMk id="9" creationId="{78D98FF9-4102-EB50-D640-9ABDBE0209D6}"/>
          </ac:spMkLst>
        </pc:spChg>
        <pc:spChg chg="add del mod ord">
          <ac:chgData name="Florent Ferizaj" userId="1ac95d67-9df5-47eb-b975-9543de642a3b" providerId="ADAL" clId="{2035A8FE-03FB-427D-B8B6-71890AF85A3C}" dt="2023-10-23T12:20:34.098" v="1604" actId="478"/>
          <ac:spMkLst>
            <pc:docMk/>
            <pc:sldMk cId="2498661594" sldId="946"/>
            <ac:spMk id="10" creationId="{2B2A4A75-C266-6BD6-A9D3-9DF428C8365A}"/>
          </ac:spMkLst>
        </pc:spChg>
        <pc:spChg chg="add mod">
          <ac:chgData name="Florent Ferizaj" userId="1ac95d67-9df5-47eb-b975-9543de642a3b" providerId="ADAL" clId="{2035A8FE-03FB-427D-B8B6-71890AF85A3C}" dt="2023-10-31T10:19:38.013" v="2454" actId="571"/>
          <ac:spMkLst>
            <pc:docMk/>
            <pc:sldMk cId="2498661594" sldId="946"/>
            <ac:spMk id="11" creationId="{0C8A64A5-9B47-D582-17BF-3E4DD41BC469}"/>
          </ac:spMkLst>
        </pc:spChg>
        <pc:spChg chg="add mod">
          <ac:chgData name="Florent Ferizaj" userId="1ac95d67-9df5-47eb-b975-9543de642a3b" providerId="ADAL" clId="{2035A8FE-03FB-427D-B8B6-71890AF85A3C}" dt="2023-10-23T12:34:04.906" v="1718" actId="14100"/>
          <ac:spMkLst>
            <pc:docMk/>
            <pc:sldMk cId="2498661594" sldId="946"/>
            <ac:spMk id="12" creationId="{F6EEFD82-517E-EE2B-1E08-F35C8F67B3A5}"/>
          </ac:spMkLst>
        </pc:spChg>
        <pc:grpChg chg="add del mod">
          <ac:chgData name="Florent Ferizaj" userId="1ac95d67-9df5-47eb-b975-9543de642a3b" providerId="ADAL" clId="{2035A8FE-03FB-427D-B8B6-71890AF85A3C}" dt="2023-10-23T12:19:13.136" v="1591" actId="165"/>
          <ac:grpSpMkLst>
            <pc:docMk/>
            <pc:sldMk cId="2498661594" sldId="946"/>
            <ac:grpSpMk id="3" creationId="{3777C556-3940-C65B-1740-6F5EAA4BD35D}"/>
          </ac:grpSpMkLst>
        </pc:grpChg>
        <pc:grpChg chg="add mod">
          <ac:chgData name="Florent Ferizaj" userId="1ac95d67-9df5-47eb-b975-9543de642a3b" providerId="ADAL" clId="{2035A8FE-03FB-427D-B8B6-71890AF85A3C}" dt="2023-10-31T10:19:38.013" v="2454" actId="571"/>
          <ac:grpSpMkLst>
            <pc:docMk/>
            <pc:sldMk cId="2498661594" sldId="946"/>
            <ac:grpSpMk id="13" creationId="{824390B3-AC40-440B-A23F-FAAD1C2CDE3D}"/>
          </ac:grpSpMkLst>
        </pc:grpChg>
        <pc:grpChg chg="add mod ord">
          <ac:chgData name="Florent Ferizaj" userId="1ac95d67-9df5-47eb-b975-9543de642a3b" providerId="ADAL" clId="{2035A8FE-03FB-427D-B8B6-71890AF85A3C}" dt="2023-10-31T10:19:38.013" v="2454" actId="571"/>
          <ac:grpSpMkLst>
            <pc:docMk/>
            <pc:sldMk cId="2498661594" sldId="946"/>
            <ac:grpSpMk id="14" creationId="{EC614535-6D7A-C971-C897-3826FED28361}"/>
          </ac:grpSpMkLst>
        </pc:grpChg>
      </pc:sldChg>
      <pc:sldChg chg="addSp delSp modSp new mod">
        <pc:chgData name="Florent Ferizaj" userId="1ac95d67-9df5-47eb-b975-9543de642a3b" providerId="ADAL" clId="{2035A8FE-03FB-427D-B8B6-71890AF85A3C}" dt="2023-10-23T13:51:52.582" v="2053" actId="1076"/>
        <pc:sldMkLst>
          <pc:docMk/>
          <pc:sldMk cId="3833774867" sldId="947"/>
        </pc:sldMkLst>
        <pc:spChg chg="del">
          <ac:chgData name="Florent Ferizaj" userId="1ac95d67-9df5-47eb-b975-9543de642a3b" providerId="ADAL" clId="{2035A8FE-03FB-427D-B8B6-71890AF85A3C}" dt="2023-10-23T12:34:29.939" v="1721" actId="478"/>
          <ac:spMkLst>
            <pc:docMk/>
            <pc:sldMk cId="3833774867" sldId="947"/>
            <ac:spMk id="2" creationId="{8AE40B4D-A065-D9B8-6402-A7F205165FC7}"/>
          </ac:spMkLst>
        </pc:spChg>
        <pc:spChg chg="add mod">
          <ac:chgData name="Florent Ferizaj" userId="1ac95d67-9df5-47eb-b975-9543de642a3b" providerId="ADAL" clId="{2035A8FE-03FB-427D-B8B6-71890AF85A3C}" dt="2023-10-23T13:51:17.717" v="2040" actId="255"/>
          <ac:spMkLst>
            <pc:docMk/>
            <pc:sldMk cId="3833774867" sldId="947"/>
            <ac:spMk id="9" creationId="{1A97DF1B-4D19-0502-10E0-F0D5B2314589}"/>
          </ac:spMkLst>
        </pc:spChg>
        <pc:spChg chg="add mod">
          <ac:chgData name="Florent Ferizaj" userId="1ac95d67-9df5-47eb-b975-9543de642a3b" providerId="ADAL" clId="{2035A8FE-03FB-427D-B8B6-71890AF85A3C}" dt="2023-10-23T13:51:17.717" v="2040" actId="255"/>
          <ac:spMkLst>
            <pc:docMk/>
            <pc:sldMk cId="3833774867" sldId="947"/>
            <ac:spMk id="10" creationId="{929AC488-5FB9-DB2C-848D-47970C26014F}"/>
          </ac:spMkLst>
        </pc:spChg>
        <pc:spChg chg="add mod">
          <ac:chgData name="Florent Ferizaj" userId="1ac95d67-9df5-47eb-b975-9543de642a3b" providerId="ADAL" clId="{2035A8FE-03FB-427D-B8B6-71890AF85A3C}" dt="2023-10-23T13:51:17.717" v="2040" actId="255"/>
          <ac:spMkLst>
            <pc:docMk/>
            <pc:sldMk cId="3833774867" sldId="947"/>
            <ac:spMk id="11" creationId="{54217B08-8496-3801-DB16-43E71F939C10}"/>
          </ac:spMkLst>
        </pc:spChg>
        <pc:spChg chg="add mod">
          <ac:chgData name="Florent Ferizaj" userId="1ac95d67-9df5-47eb-b975-9543de642a3b" providerId="ADAL" clId="{2035A8FE-03FB-427D-B8B6-71890AF85A3C}" dt="2023-10-23T13:51:17.717" v="2040" actId="255"/>
          <ac:spMkLst>
            <pc:docMk/>
            <pc:sldMk cId="3833774867" sldId="947"/>
            <ac:spMk id="12" creationId="{7014E999-9318-55B1-D59E-230AEDA12A9F}"/>
          </ac:spMkLst>
        </pc:spChg>
        <pc:spChg chg="add mod">
          <ac:chgData name="Florent Ferizaj" userId="1ac95d67-9df5-47eb-b975-9543de642a3b" providerId="ADAL" clId="{2035A8FE-03FB-427D-B8B6-71890AF85A3C}" dt="2023-10-23T13:51:17.717" v="2040" actId="255"/>
          <ac:spMkLst>
            <pc:docMk/>
            <pc:sldMk cId="3833774867" sldId="947"/>
            <ac:spMk id="13" creationId="{E943B29D-1497-1C23-A000-1FDC9BFDB8F4}"/>
          </ac:spMkLst>
        </pc:spChg>
        <pc:spChg chg="add mod">
          <ac:chgData name="Florent Ferizaj" userId="1ac95d67-9df5-47eb-b975-9543de642a3b" providerId="ADAL" clId="{2035A8FE-03FB-427D-B8B6-71890AF85A3C}" dt="2023-10-23T13:51:17.717" v="2040" actId="255"/>
          <ac:spMkLst>
            <pc:docMk/>
            <pc:sldMk cId="3833774867" sldId="947"/>
            <ac:spMk id="14" creationId="{48E9AFC4-06EC-584F-BC85-BA3C97F9C961}"/>
          </ac:spMkLst>
        </pc:spChg>
        <pc:spChg chg="add mod">
          <ac:chgData name="Florent Ferizaj" userId="1ac95d67-9df5-47eb-b975-9543de642a3b" providerId="ADAL" clId="{2035A8FE-03FB-427D-B8B6-71890AF85A3C}" dt="2023-10-23T13:51:17.717" v="2040" actId="255"/>
          <ac:spMkLst>
            <pc:docMk/>
            <pc:sldMk cId="3833774867" sldId="947"/>
            <ac:spMk id="15" creationId="{49A67487-8AC6-41D6-0744-2A7CA4BF6CFB}"/>
          </ac:spMkLst>
        </pc:spChg>
        <pc:spChg chg="add mod">
          <ac:chgData name="Florent Ferizaj" userId="1ac95d67-9df5-47eb-b975-9543de642a3b" providerId="ADAL" clId="{2035A8FE-03FB-427D-B8B6-71890AF85A3C}" dt="2023-10-23T13:51:52.582" v="2053" actId="1076"/>
          <ac:spMkLst>
            <pc:docMk/>
            <pc:sldMk cId="3833774867" sldId="947"/>
            <ac:spMk id="16" creationId="{D95D19D1-1610-32FA-F765-2C4588F168DD}"/>
          </ac:spMkLst>
        </pc:spChg>
        <pc:spChg chg="add del mod">
          <ac:chgData name="Florent Ferizaj" userId="1ac95d67-9df5-47eb-b975-9543de642a3b" providerId="ADAL" clId="{2035A8FE-03FB-427D-B8B6-71890AF85A3C}" dt="2023-10-23T13:51:50.437" v="2052" actId="478"/>
          <ac:spMkLst>
            <pc:docMk/>
            <pc:sldMk cId="3833774867" sldId="947"/>
            <ac:spMk id="30" creationId="{D3B00BDC-BC77-5C05-5FA1-CA323F756911}"/>
          </ac:spMkLst>
        </pc:spChg>
        <pc:grpChg chg="add mod">
          <ac:chgData name="Florent Ferizaj" userId="1ac95d67-9df5-47eb-b975-9543de642a3b" providerId="ADAL" clId="{2035A8FE-03FB-427D-B8B6-71890AF85A3C}" dt="2023-10-23T13:51:02.552" v="2032" actId="164"/>
          <ac:grpSpMkLst>
            <pc:docMk/>
            <pc:sldMk cId="3833774867" sldId="947"/>
            <ac:grpSpMk id="28" creationId="{EDD4E28E-27AC-4B53-9A76-E960F6F38D5F}"/>
          </ac:grpSpMkLst>
        </pc:grpChg>
        <pc:grpChg chg="add mod">
          <ac:chgData name="Florent Ferizaj" userId="1ac95d67-9df5-47eb-b975-9543de642a3b" providerId="ADAL" clId="{2035A8FE-03FB-427D-B8B6-71890AF85A3C}" dt="2023-10-23T13:51:17.511" v="2039" actId="1076"/>
          <ac:grpSpMkLst>
            <pc:docMk/>
            <pc:sldMk cId="3833774867" sldId="947"/>
            <ac:grpSpMk id="29" creationId="{56D34C72-2DC6-79DA-5B5A-B9FC2AB34010}"/>
          </ac:grpSpMkLst>
        </pc:grpChg>
        <pc:cxnChg chg="add mod">
          <ac:chgData name="Florent Ferizaj" userId="1ac95d67-9df5-47eb-b975-9543de642a3b" providerId="ADAL" clId="{2035A8FE-03FB-427D-B8B6-71890AF85A3C}" dt="2023-10-23T13:51:04.131" v="2033" actId="164"/>
          <ac:cxnSpMkLst>
            <pc:docMk/>
            <pc:sldMk cId="3833774867" sldId="947"/>
            <ac:cxnSpMk id="3" creationId="{43165DE4-BA1B-A8BD-60CE-AE2611E9789C}"/>
          </ac:cxnSpMkLst>
        </pc:cxnChg>
        <pc:cxnChg chg="add mod">
          <ac:chgData name="Florent Ferizaj" userId="1ac95d67-9df5-47eb-b975-9543de642a3b" providerId="ADAL" clId="{2035A8FE-03FB-427D-B8B6-71890AF85A3C}" dt="2023-10-23T13:51:04.131" v="2033" actId="164"/>
          <ac:cxnSpMkLst>
            <pc:docMk/>
            <pc:sldMk cId="3833774867" sldId="947"/>
            <ac:cxnSpMk id="4" creationId="{39880BB6-C058-3E4C-AF60-F43410228FFD}"/>
          </ac:cxnSpMkLst>
        </pc:cxnChg>
        <pc:cxnChg chg="add mod">
          <ac:chgData name="Florent Ferizaj" userId="1ac95d67-9df5-47eb-b975-9543de642a3b" providerId="ADAL" clId="{2035A8FE-03FB-427D-B8B6-71890AF85A3C}" dt="2023-10-23T13:51:04.131" v="2033" actId="164"/>
          <ac:cxnSpMkLst>
            <pc:docMk/>
            <pc:sldMk cId="3833774867" sldId="947"/>
            <ac:cxnSpMk id="5" creationId="{1E96B733-4318-3E19-6B9B-3932E7854B23}"/>
          </ac:cxnSpMkLst>
        </pc:cxnChg>
        <pc:cxnChg chg="add mod">
          <ac:chgData name="Florent Ferizaj" userId="1ac95d67-9df5-47eb-b975-9543de642a3b" providerId="ADAL" clId="{2035A8FE-03FB-427D-B8B6-71890AF85A3C}" dt="2023-10-23T13:51:04.131" v="2033" actId="164"/>
          <ac:cxnSpMkLst>
            <pc:docMk/>
            <pc:sldMk cId="3833774867" sldId="947"/>
            <ac:cxnSpMk id="6" creationId="{0BCA64A7-808E-E2BF-9416-2B96A4F8A72B}"/>
          </ac:cxnSpMkLst>
        </pc:cxnChg>
        <pc:cxnChg chg="add mod">
          <ac:chgData name="Florent Ferizaj" userId="1ac95d67-9df5-47eb-b975-9543de642a3b" providerId="ADAL" clId="{2035A8FE-03FB-427D-B8B6-71890AF85A3C}" dt="2023-10-23T13:51:04.131" v="2033" actId="164"/>
          <ac:cxnSpMkLst>
            <pc:docMk/>
            <pc:sldMk cId="3833774867" sldId="947"/>
            <ac:cxnSpMk id="7" creationId="{0A3B30EC-4C41-1222-E1AB-BCA234B47708}"/>
          </ac:cxnSpMkLst>
        </pc:cxnChg>
        <pc:cxnChg chg="add mod">
          <ac:chgData name="Florent Ferizaj" userId="1ac95d67-9df5-47eb-b975-9543de642a3b" providerId="ADAL" clId="{2035A8FE-03FB-427D-B8B6-71890AF85A3C}" dt="2023-10-23T13:51:04.131" v="2033" actId="164"/>
          <ac:cxnSpMkLst>
            <pc:docMk/>
            <pc:sldMk cId="3833774867" sldId="947"/>
            <ac:cxnSpMk id="8" creationId="{604D09DB-4F87-0DA4-52FA-093EC328E388}"/>
          </ac:cxnSpMkLst>
        </pc:cxnChg>
      </pc:sldChg>
      <pc:sldChg chg="addSp delSp modSp new mod">
        <pc:chgData name="Florent Ferizaj" userId="1ac95d67-9df5-47eb-b975-9543de642a3b" providerId="ADAL" clId="{2035A8FE-03FB-427D-B8B6-71890AF85A3C}" dt="2023-10-23T13:49:36.595" v="2007" actId="14100"/>
        <pc:sldMkLst>
          <pc:docMk/>
          <pc:sldMk cId="2921867491" sldId="948"/>
        </pc:sldMkLst>
        <pc:spChg chg="del">
          <ac:chgData name="Florent Ferizaj" userId="1ac95d67-9df5-47eb-b975-9543de642a3b" providerId="ADAL" clId="{2035A8FE-03FB-427D-B8B6-71890AF85A3C}" dt="2023-10-23T12:35:28.173" v="1765" actId="478"/>
          <ac:spMkLst>
            <pc:docMk/>
            <pc:sldMk cId="2921867491" sldId="948"/>
            <ac:spMk id="2" creationId="{D12170A2-5A33-EF8D-53E5-5C295338EADF}"/>
          </ac:spMkLst>
        </pc:spChg>
        <pc:spChg chg="add mod">
          <ac:chgData name="Florent Ferizaj" userId="1ac95d67-9df5-47eb-b975-9543de642a3b" providerId="ADAL" clId="{2035A8FE-03FB-427D-B8B6-71890AF85A3C}" dt="2023-10-23T13:49:36.595" v="2007" actId="14100"/>
          <ac:spMkLst>
            <pc:docMk/>
            <pc:sldMk cId="2921867491" sldId="948"/>
            <ac:spMk id="3" creationId="{90C6029E-1C02-E771-DD4D-28089D21FFAB}"/>
          </ac:spMkLst>
        </pc:spChg>
        <pc:spChg chg="add mod">
          <ac:chgData name="Florent Ferizaj" userId="1ac95d67-9df5-47eb-b975-9543de642a3b" providerId="ADAL" clId="{2035A8FE-03FB-427D-B8B6-71890AF85A3C}" dt="2023-10-23T12:35:57.117" v="1784" actId="255"/>
          <ac:spMkLst>
            <pc:docMk/>
            <pc:sldMk cId="2921867491" sldId="948"/>
            <ac:spMk id="4" creationId="{7DCC16AB-19BE-29DE-81BA-F2F79B2E35EB}"/>
          </ac:spMkLst>
        </pc:spChg>
        <pc:spChg chg="add mod">
          <ac:chgData name="Florent Ferizaj" userId="1ac95d67-9df5-47eb-b975-9543de642a3b" providerId="ADAL" clId="{2035A8FE-03FB-427D-B8B6-71890AF85A3C}" dt="2023-10-23T12:36:50.425" v="1817" actId="1076"/>
          <ac:spMkLst>
            <pc:docMk/>
            <pc:sldMk cId="2921867491" sldId="948"/>
            <ac:spMk id="5" creationId="{7EC514B3-42F6-5E06-34A5-18F2C3454F4B}"/>
          </ac:spMkLst>
        </pc:spChg>
      </pc:sldChg>
      <pc:sldChg chg="addSp delSp modSp new mod">
        <pc:chgData name="Florent Ferizaj" userId="1ac95d67-9df5-47eb-b975-9543de642a3b" providerId="ADAL" clId="{2035A8FE-03FB-427D-B8B6-71890AF85A3C}" dt="2023-10-24T06:51:34.962" v="2084" actId="1076"/>
        <pc:sldMkLst>
          <pc:docMk/>
          <pc:sldMk cId="1855730906" sldId="949"/>
        </pc:sldMkLst>
        <pc:spChg chg="del">
          <ac:chgData name="Florent Ferizaj" userId="1ac95d67-9df5-47eb-b975-9543de642a3b" providerId="ADAL" clId="{2035A8FE-03FB-427D-B8B6-71890AF85A3C}" dt="2023-10-23T13:46:14.174" v="1962" actId="931"/>
          <ac:spMkLst>
            <pc:docMk/>
            <pc:sldMk cId="1855730906" sldId="949"/>
            <ac:spMk id="2" creationId="{125F3496-3B5D-E5EA-F028-14E8BBDBC1F0}"/>
          </ac:spMkLst>
        </pc:spChg>
        <pc:spChg chg="add mod">
          <ac:chgData name="Florent Ferizaj" userId="1ac95d67-9df5-47eb-b975-9543de642a3b" providerId="ADAL" clId="{2035A8FE-03FB-427D-B8B6-71890AF85A3C}" dt="2023-10-23T13:42:34.839" v="1955" actId="1076"/>
          <ac:spMkLst>
            <pc:docMk/>
            <pc:sldMk cId="1855730906" sldId="949"/>
            <ac:spMk id="3" creationId="{B940BD3C-E5AF-1D79-0ECD-B59C32921772}"/>
          </ac:spMkLst>
        </pc:spChg>
        <pc:spChg chg="add mod ord">
          <ac:chgData name="Florent Ferizaj" userId="1ac95d67-9df5-47eb-b975-9543de642a3b" providerId="ADAL" clId="{2035A8FE-03FB-427D-B8B6-71890AF85A3C}" dt="2023-10-24T06:51:34.962" v="2084" actId="1076"/>
          <ac:spMkLst>
            <pc:docMk/>
            <pc:sldMk cId="1855730906" sldId="949"/>
            <ac:spMk id="4" creationId="{E14CB841-EB57-4227-935B-577DF4900888}"/>
          </ac:spMkLst>
        </pc:spChg>
        <pc:spChg chg="add mod">
          <ac:chgData name="Florent Ferizaj" userId="1ac95d67-9df5-47eb-b975-9543de642a3b" providerId="ADAL" clId="{2035A8FE-03FB-427D-B8B6-71890AF85A3C}" dt="2023-10-24T06:51:34.962" v="2084" actId="1076"/>
          <ac:spMkLst>
            <pc:docMk/>
            <pc:sldMk cId="1855730906" sldId="949"/>
            <ac:spMk id="5" creationId="{D25173A6-F5A3-C933-AFFA-E8D0AC10A0A1}"/>
          </ac:spMkLst>
        </pc:spChg>
        <pc:spChg chg="add mod">
          <ac:chgData name="Florent Ferizaj" userId="1ac95d67-9df5-47eb-b975-9543de642a3b" providerId="ADAL" clId="{2035A8FE-03FB-427D-B8B6-71890AF85A3C}" dt="2023-10-24T06:51:34.962" v="2084" actId="1076"/>
          <ac:spMkLst>
            <pc:docMk/>
            <pc:sldMk cId="1855730906" sldId="949"/>
            <ac:spMk id="6" creationId="{63D69B61-83FE-C70A-B572-C232C6129B20}"/>
          </ac:spMkLst>
        </pc:spChg>
        <pc:picChg chg="add mod">
          <ac:chgData name="Florent Ferizaj" userId="1ac95d67-9df5-47eb-b975-9543de642a3b" providerId="ADAL" clId="{2035A8FE-03FB-427D-B8B6-71890AF85A3C}" dt="2023-10-23T13:46:14.174" v="1962" actId="931"/>
          <ac:picMkLst>
            <pc:docMk/>
            <pc:sldMk cId="1855730906" sldId="949"/>
            <ac:picMk id="8" creationId="{D4BB5052-9E43-3AC8-CD63-45D8694B9F18}"/>
          </ac:picMkLst>
        </pc:picChg>
      </pc:sldChg>
      <pc:sldChg chg="new del">
        <pc:chgData name="Florent Ferizaj" userId="1ac95d67-9df5-47eb-b975-9543de642a3b" providerId="ADAL" clId="{2035A8FE-03FB-427D-B8B6-71890AF85A3C}" dt="2023-10-23T13:42:13.935" v="1950" actId="680"/>
        <pc:sldMkLst>
          <pc:docMk/>
          <pc:sldMk cId="2857863332" sldId="949"/>
        </pc:sldMkLst>
      </pc:sldChg>
      <pc:sldMasterChg chg="delSldLayout">
        <pc:chgData name="Florent Ferizaj" userId="1ac95d67-9df5-47eb-b975-9543de642a3b" providerId="ADAL" clId="{2035A8FE-03FB-427D-B8B6-71890AF85A3C}" dt="2023-10-23T13:49:02.557" v="1979" actId="47"/>
        <pc:sldMasterMkLst>
          <pc:docMk/>
          <pc:sldMasterMk cId="576128267" sldId="2147483648"/>
        </pc:sldMasterMkLst>
        <pc:sldLayoutChg chg="del">
          <pc:chgData name="Florent Ferizaj" userId="1ac95d67-9df5-47eb-b975-9543de642a3b" providerId="ADAL" clId="{2035A8FE-03FB-427D-B8B6-71890AF85A3C}" dt="2023-10-23T13:49:02.557" v="1979" actId="47"/>
          <pc:sldLayoutMkLst>
            <pc:docMk/>
            <pc:sldMasterMk cId="576128267" sldId="2147483648"/>
            <pc:sldLayoutMk cId="1876246811" sldId="2147483677"/>
          </pc:sldLayoutMkLst>
        </pc:sldLayoutChg>
        <pc:sldLayoutChg chg="del">
          <pc:chgData name="Florent Ferizaj" userId="1ac95d67-9df5-47eb-b975-9543de642a3b" providerId="ADAL" clId="{2035A8FE-03FB-427D-B8B6-71890AF85A3C}" dt="2023-10-23T08:48:13.804" v="1391" actId="47"/>
          <pc:sldLayoutMkLst>
            <pc:docMk/>
            <pc:sldMasterMk cId="576128267" sldId="2147483648"/>
            <pc:sldLayoutMk cId="2208521471" sldId="2147483678"/>
          </pc:sldLayoutMkLst>
        </pc:sldLayoutChg>
        <pc:sldLayoutChg chg="del">
          <pc:chgData name="Florent Ferizaj" userId="1ac95d67-9df5-47eb-b975-9543de642a3b" providerId="ADAL" clId="{2035A8FE-03FB-427D-B8B6-71890AF85A3C}" dt="2023-10-23T12:35:03.480" v="1760" actId="47"/>
          <pc:sldLayoutMkLst>
            <pc:docMk/>
            <pc:sldMasterMk cId="576128267" sldId="2147483648"/>
            <pc:sldLayoutMk cId="849472130" sldId="2147483679"/>
          </pc:sldLayoutMkLst>
        </pc:sldLayoutChg>
        <pc:sldLayoutChg chg="del">
          <pc:chgData name="Florent Ferizaj" userId="1ac95d67-9df5-47eb-b975-9543de642a3b" providerId="ADAL" clId="{2035A8FE-03FB-427D-B8B6-71890AF85A3C}" dt="2023-10-23T12:34:08.531" v="1719" actId="47"/>
          <pc:sldLayoutMkLst>
            <pc:docMk/>
            <pc:sldMasterMk cId="576128267" sldId="2147483648"/>
            <pc:sldLayoutMk cId="2963987706" sldId="2147483680"/>
          </pc:sldLayoutMkLst>
        </pc:sldLayoutChg>
      </pc:sldMasterChg>
    </pc:docChg>
  </pc:docChgLst>
  <pc:docChgLst>
    <pc:chgData name="Vita Rexhepi" userId="465ca860-f783-42b0-8ee2-de8a28a6736a" providerId="ADAL" clId="{F27899FD-BC5D-404F-8A35-A49A24A3E301}"/>
    <pc:docChg chg="undo custSel addSld delSld modSld addSection delSection modSection">
      <pc:chgData name="Vita Rexhepi" userId="465ca860-f783-42b0-8ee2-de8a28a6736a" providerId="ADAL" clId="{F27899FD-BC5D-404F-8A35-A49A24A3E301}" dt="2023-06-07T09:13:05.883" v="527" actId="20577"/>
      <pc:docMkLst>
        <pc:docMk/>
      </pc:docMkLst>
      <pc:sldChg chg="add del">
        <pc:chgData name="Vita Rexhepi" userId="465ca860-f783-42b0-8ee2-de8a28a6736a" providerId="ADAL" clId="{F27899FD-BC5D-404F-8A35-A49A24A3E301}" dt="2023-06-07T09:10:41.803" v="519" actId="2696"/>
        <pc:sldMkLst>
          <pc:docMk/>
          <pc:sldMk cId="4094463976" sldId="275"/>
        </pc:sldMkLst>
      </pc:sldChg>
      <pc:sldChg chg="add del">
        <pc:chgData name="Vita Rexhepi" userId="465ca860-f783-42b0-8ee2-de8a28a6736a" providerId="ADAL" clId="{F27899FD-BC5D-404F-8A35-A49A24A3E301}" dt="2023-06-07T09:10:41.803" v="519" actId="2696"/>
        <pc:sldMkLst>
          <pc:docMk/>
          <pc:sldMk cId="1895001975" sldId="282"/>
        </pc:sldMkLst>
      </pc:sldChg>
      <pc:sldChg chg="add del">
        <pc:chgData name="Vita Rexhepi" userId="465ca860-f783-42b0-8ee2-de8a28a6736a" providerId="ADAL" clId="{F27899FD-BC5D-404F-8A35-A49A24A3E301}" dt="2023-06-07T09:10:41.803" v="519" actId="2696"/>
        <pc:sldMkLst>
          <pc:docMk/>
          <pc:sldMk cId="297762828" sldId="284"/>
        </pc:sldMkLst>
      </pc:sldChg>
      <pc:sldChg chg="addSp delSp modSp mod modAnim delCm modCm">
        <pc:chgData name="Vita Rexhepi" userId="465ca860-f783-42b0-8ee2-de8a28a6736a" providerId="ADAL" clId="{F27899FD-BC5D-404F-8A35-A49A24A3E301}" dt="2023-06-07T09:09:55.770" v="516" actId="1038"/>
        <pc:sldMkLst>
          <pc:docMk/>
          <pc:sldMk cId="3116769435" sldId="293"/>
        </pc:sldMkLst>
        <pc:spChg chg="add del">
          <ac:chgData name="Vita Rexhepi" userId="465ca860-f783-42b0-8ee2-de8a28a6736a" providerId="ADAL" clId="{F27899FD-BC5D-404F-8A35-A49A24A3E301}" dt="2023-06-07T09:07:43.211" v="157" actId="478"/>
          <ac:spMkLst>
            <pc:docMk/>
            <pc:sldMk cId="3116769435" sldId="293"/>
            <ac:spMk id="2" creationId="{E90895F6-62C4-59FB-0537-42C5774490A0}"/>
          </ac:spMkLst>
        </pc:spChg>
        <pc:spChg chg="add mod">
          <ac:chgData name="Vita Rexhepi" userId="465ca860-f783-42b0-8ee2-de8a28a6736a" providerId="ADAL" clId="{F27899FD-BC5D-404F-8A35-A49A24A3E301}" dt="2023-06-07T09:09:55.770" v="516" actId="1038"/>
          <ac:spMkLst>
            <pc:docMk/>
            <pc:sldMk cId="3116769435" sldId="293"/>
            <ac:spMk id="3" creationId="{C754E8ED-0313-1CDF-CE89-E40CFD58F16C}"/>
          </ac:spMkLst>
        </pc:spChg>
        <pc:spChg chg="add mod">
          <ac:chgData name="Vita Rexhepi" userId="465ca860-f783-42b0-8ee2-de8a28a6736a" providerId="ADAL" clId="{F27899FD-BC5D-404F-8A35-A49A24A3E301}" dt="2023-06-07T09:09:55.770" v="516" actId="1038"/>
          <ac:spMkLst>
            <pc:docMk/>
            <pc:sldMk cId="3116769435" sldId="293"/>
            <ac:spMk id="7" creationId="{2B967122-5E5F-4AF5-3839-0AF662E8CEA0}"/>
          </ac:spMkLst>
        </pc:spChg>
        <pc:spChg chg="add mod">
          <ac:chgData name="Vita Rexhepi" userId="465ca860-f783-42b0-8ee2-de8a28a6736a" providerId="ADAL" clId="{F27899FD-BC5D-404F-8A35-A49A24A3E301}" dt="2023-06-07T09:09:55.770" v="516" actId="1038"/>
          <ac:spMkLst>
            <pc:docMk/>
            <pc:sldMk cId="3116769435" sldId="293"/>
            <ac:spMk id="8" creationId="{C5EC0613-A06E-38C9-11F5-B744E9C00AB4}"/>
          </ac:spMkLst>
        </pc:spChg>
        <pc:spChg chg="add mod">
          <ac:chgData name="Vita Rexhepi" userId="465ca860-f783-42b0-8ee2-de8a28a6736a" providerId="ADAL" clId="{F27899FD-BC5D-404F-8A35-A49A24A3E301}" dt="2023-06-07T09:09:55.770" v="516" actId="1038"/>
          <ac:spMkLst>
            <pc:docMk/>
            <pc:sldMk cId="3116769435" sldId="293"/>
            <ac:spMk id="9" creationId="{C5A8E997-A8A9-A133-B7D6-0BD911911BFB}"/>
          </ac:spMkLst>
        </pc:spChg>
        <pc:spChg chg="mod">
          <ac:chgData name="Vita Rexhepi" userId="465ca860-f783-42b0-8ee2-de8a28a6736a" providerId="ADAL" clId="{F27899FD-BC5D-404F-8A35-A49A24A3E301}" dt="2023-06-07T09:05:23.774" v="24" actId="1038"/>
          <ac:spMkLst>
            <pc:docMk/>
            <pc:sldMk cId="3116769435" sldId="293"/>
            <ac:spMk id="11" creationId="{09DF1DA0-4799-4E7C-9EF6-6434EE696FF8}"/>
          </ac:spMkLst>
        </pc:spChg>
        <pc:spChg chg="add mod">
          <ac:chgData name="Vita Rexhepi" userId="465ca860-f783-42b0-8ee2-de8a28a6736a" providerId="ADAL" clId="{F27899FD-BC5D-404F-8A35-A49A24A3E301}" dt="2023-06-07T09:09:55.770" v="516" actId="1038"/>
          <ac:spMkLst>
            <pc:docMk/>
            <pc:sldMk cId="3116769435" sldId="293"/>
            <ac:spMk id="12" creationId="{C1A2C7DF-311C-E958-19FD-C152BB35534D}"/>
          </ac:spMkLst>
        </pc:spChg>
        <pc:spChg chg="add mod">
          <ac:chgData name="Vita Rexhepi" userId="465ca860-f783-42b0-8ee2-de8a28a6736a" providerId="ADAL" clId="{F27899FD-BC5D-404F-8A35-A49A24A3E301}" dt="2023-06-07T09:09:55.770" v="516" actId="1038"/>
          <ac:spMkLst>
            <pc:docMk/>
            <pc:sldMk cId="3116769435" sldId="293"/>
            <ac:spMk id="13" creationId="{4610D2B2-8AA0-E304-7ADD-72F7AC5B22C0}"/>
          </ac:spMkLst>
        </pc:spChg>
        <pc:extLst>
          <p:ext xmlns:p="http://schemas.openxmlformats.org/presentationml/2006/main" uri="{D6D511B9-2390-475A-947B-AFAB55BFBCF1}">
            <pc226:cmChg xmlns:pc226="http://schemas.microsoft.com/office/powerpoint/2022/06/main/command" chg="del mod">
              <pc226:chgData name="Vita Rexhepi" userId="465ca860-f783-42b0-8ee2-de8a28a6736a" providerId="ADAL" clId="{F27899FD-BC5D-404F-8A35-A49A24A3E301}" dt="2023-06-07T09:05:08.250" v="2"/>
              <pc2:cmMkLst xmlns:pc2="http://schemas.microsoft.com/office/powerpoint/2019/9/main/command">
                <pc:docMk/>
                <pc:sldMk cId="3116769435" sldId="293"/>
                <pc2:cmMk id="{96FB509B-A7C2-4C47-91FA-4B6020010C94}"/>
              </pc2:cmMkLst>
            </pc226:cmChg>
          </p:ext>
        </pc:extLst>
      </pc:sldChg>
      <pc:sldChg chg="add del">
        <pc:chgData name="Vita Rexhepi" userId="465ca860-f783-42b0-8ee2-de8a28a6736a" providerId="ADAL" clId="{F27899FD-BC5D-404F-8A35-A49A24A3E301}" dt="2023-06-07T09:10:41.803" v="519" actId="2696"/>
        <pc:sldMkLst>
          <pc:docMk/>
          <pc:sldMk cId="4066983310" sldId="294"/>
        </pc:sldMkLst>
      </pc:sldChg>
      <pc:sldChg chg="add del">
        <pc:chgData name="Vita Rexhepi" userId="465ca860-f783-42b0-8ee2-de8a28a6736a" providerId="ADAL" clId="{F27899FD-BC5D-404F-8A35-A49A24A3E301}" dt="2023-06-07T09:10:41.803" v="519" actId="2696"/>
        <pc:sldMkLst>
          <pc:docMk/>
          <pc:sldMk cId="2782898625" sldId="295"/>
        </pc:sldMkLst>
      </pc:sldChg>
      <pc:sldChg chg="add del">
        <pc:chgData name="Vita Rexhepi" userId="465ca860-f783-42b0-8ee2-de8a28a6736a" providerId="ADAL" clId="{F27899FD-BC5D-404F-8A35-A49A24A3E301}" dt="2023-06-07T09:10:41.803" v="519" actId="2696"/>
        <pc:sldMkLst>
          <pc:docMk/>
          <pc:sldMk cId="2122430467" sldId="296"/>
        </pc:sldMkLst>
      </pc:sldChg>
      <pc:sldChg chg="add del">
        <pc:chgData name="Vita Rexhepi" userId="465ca860-f783-42b0-8ee2-de8a28a6736a" providerId="ADAL" clId="{F27899FD-BC5D-404F-8A35-A49A24A3E301}" dt="2023-06-07T09:10:41.803" v="519" actId="2696"/>
        <pc:sldMkLst>
          <pc:docMk/>
          <pc:sldMk cId="2318522847" sldId="297"/>
        </pc:sldMkLst>
      </pc:sldChg>
      <pc:sldChg chg="add del">
        <pc:chgData name="Vita Rexhepi" userId="465ca860-f783-42b0-8ee2-de8a28a6736a" providerId="ADAL" clId="{F27899FD-BC5D-404F-8A35-A49A24A3E301}" dt="2023-06-07T09:10:41.803" v="519" actId="2696"/>
        <pc:sldMkLst>
          <pc:docMk/>
          <pc:sldMk cId="864371728" sldId="298"/>
        </pc:sldMkLst>
      </pc:sldChg>
      <pc:sldChg chg="add del">
        <pc:chgData name="Vita Rexhepi" userId="465ca860-f783-42b0-8ee2-de8a28a6736a" providerId="ADAL" clId="{F27899FD-BC5D-404F-8A35-A49A24A3E301}" dt="2023-06-07T09:10:41.803" v="519" actId="2696"/>
        <pc:sldMkLst>
          <pc:docMk/>
          <pc:sldMk cId="3743660825" sldId="299"/>
        </pc:sldMkLst>
      </pc:sldChg>
      <pc:sldChg chg="add del">
        <pc:chgData name="Vita Rexhepi" userId="465ca860-f783-42b0-8ee2-de8a28a6736a" providerId="ADAL" clId="{F27899FD-BC5D-404F-8A35-A49A24A3E301}" dt="2023-06-07T09:10:41.803" v="519" actId="2696"/>
        <pc:sldMkLst>
          <pc:docMk/>
          <pc:sldMk cId="69507226" sldId="300"/>
        </pc:sldMkLst>
      </pc:sldChg>
      <pc:sldChg chg="add del">
        <pc:chgData name="Vita Rexhepi" userId="465ca860-f783-42b0-8ee2-de8a28a6736a" providerId="ADAL" clId="{F27899FD-BC5D-404F-8A35-A49A24A3E301}" dt="2023-06-07T09:10:41.803" v="519" actId="2696"/>
        <pc:sldMkLst>
          <pc:docMk/>
          <pc:sldMk cId="1802899259" sldId="302"/>
        </pc:sldMkLst>
      </pc:sldChg>
      <pc:sldChg chg="add del delCm">
        <pc:chgData name="Vita Rexhepi" userId="465ca860-f783-42b0-8ee2-de8a28a6736a" providerId="ADAL" clId="{F27899FD-BC5D-404F-8A35-A49A24A3E301}" dt="2023-06-07T09:10:41.803" v="519" actId="2696"/>
        <pc:sldMkLst>
          <pc:docMk/>
          <pc:sldMk cId="2181080807" sldId="303"/>
        </pc:sldMkLst>
        <pc:extLst>
          <p:ext xmlns:p="http://schemas.openxmlformats.org/presentationml/2006/main" uri="{D6D511B9-2390-475A-947B-AFAB55BFBCF1}">
            <pc226:cmChg xmlns:pc226="http://schemas.microsoft.com/office/powerpoint/2022/06/main/command" chg="del">
              <pc226:chgData name="Vita Rexhepi" userId="465ca860-f783-42b0-8ee2-de8a28a6736a" providerId="ADAL" clId="{F27899FD-BC5D-404F-8A35-A49A24A3E301}" dt="2023-06-07T09:05:59.904" v="26"/>
              <pc2:cmMkLst xmlns:pc2="http://schemas.microsoft.com/office/powerpoint/2019/9/main/command">
                <pc:docMk/>
                <pc:sldMk cId="2181080807" sldId="303"/>
                <pc2:cmMk id="{B3E8664C-23EE-4A29-BB62-D8ACED6BEBAB}"/>
              </pc2:cmMkLst>
            </pc226:cmChg>
          </p:ext>
        </pc:extLst>
      </pc:sldChg>
      <pc:sldChg chg="add del">
        <pc:chgData name="Vita Rexhepi" userId="465ca860-f783-42b0-8ee2-de8a28a6736a" providerId="ADAL" clId="{F27899FD-BC5D-404F-8A35-A49A24A3E301}" dt="2023-06-07T09:10:41.803" v="519" actId="2696"/>
        <pc:sldMkLst>
          <pc:docMk/>
          <pc:sldMk cId="3507659359" sldId="304"/>
        </pc:sldMkLst>
      </pc:sldChg>
      <pc:sldChg chg="add del">
        <pc:chgData name="Vita Rexhepi" userId="465ca860-f783-42b0-8ee2-de8a28a6736a" providerId="ADAL" clId="{F27899FD-BC5D-404F-8A35-A49A24A3E301}" dt="2023-06-07T09:10:41.803" v="519" actId="2696"/>
        <pc:sldMkLst>
          <pc:docMk/>
          <pc:sldMk cId="836400106" sldId="305"/>
        </pc:sldMkLst>
      </pc:sldChg>
      <pc:sldChg chg="modSp add del delCm">
        <pc:chgData name="Vita Rexhepi" userId="465ca860-f783-42b0-8ee2-de8a28a6736a" providerId="ADAL" clId="{F27899FD-BC5D-404F-8A35-A49A24A3E301}" dt="2023-06-07T09:13:05.883" v="527" actId="20577"/>
        <pc:sldMkLst>
          <pc:docMk/>
          <pc:sldMk cId="3601143944" sldId="306"/>
        </pc:sldMkLst>
        <pc:spChg chg="mod">
          <ac:chgData name="Vita Rexhepi" userId="465ca860-f783-42b0-8ee2-de8a28a6736a" providerId="ADAL" clId="{F27899FD-BC5D-404F-8A35-A49A24A3E301}" dt="2023-06-07T09:13:05.883" v="527" actId="20577"/>
          <ac:spMkLst>
            <pc:docMk/>
            <pc:sldMk cId="3601143944" sldId="306"/>
            <ac:spMk id="21" creationId="{1C71675E-5AD2-46FA-AE5F-53DC9101A4B7}"/>
          </ac:spMkLst>
        </pc:spChg>
        <pc:extLst>
          <p:ext xmlns:p="http://schemas.openxmlformats.org/presentationml/2006/main" uri="{D6D511B9-2390-475A-947B-AFAB55BFBCF1}">
            <pc226:cmChg xmlns:pc226="http://schemas.microsoft.com/office/powerpoint/2022/06/main/command" chg="del">
              <pc226:chgData name="Vita Rexhepi" userId="465ca860-f783-42b0-8ee2-de8a28a6736a" providerId="ADAL" clId="{F27899FD-BC5D-404F-8A35-A49A24A3E301}" dt="2023-06-07T09:06:04.384" v="27"/>
              <pc2:cmMkLst xmlns:pc2="http://schemas.microsoft.com/office/powerpoint/2019/9/main/command">
                <pc:docMk/>
                <pc:sldMk cId="3601143944" sldId="306"/>
                <pc2:cmMk id="{A4FE4816-B0D0-4C7D-A172-50FA53357F41}"/>
              </pc2:cmMkLst>
            </pc226:cmChg>
          </p:ext>
        </pc:extLst>
      </pc:sldChg>
      <pc:sldChg chg="add del">
        <pc:chgData name="Vita Rexhepi" userId="465ca860-f783-42b0-8ee2-de8a28a6736a" providerId="ADAL" clId="{F27899FD-BC5D-404F-8A35-A49A24A3E301}" dt="2023-06-07T09:10:41.803" v="519" actId="2696"/>
        <pc:sldMkLst>
          <pc:docMk/>
          <pc:sldMk cId="4283419930" sldId="925"/>
        </pc:sldMkLst>
      </pc:sldChg>
      <pc:sldChg chg="add del">
        <pc:chgData name="Vita Rexhepi" userId="465ca860-f783-42b0-8ee2-de8a28a6736a" providerId="ADAL" clId="{F27899FD-BC5D-404F-8A35-A49A24A3E301}" dt="2023-06-07T09:10:41.803" v="519" actId="2696"/>
        <pc:sldMkLst>
          <pc:docMk/>
          <pc:sldMk cId="1156208337" sldId="926"/>
        </pc:sldMkLst>
      </pc:sldChg>
      <pc:sldChg chg="add del delCm">
        <pc:chgData name="Vita Rexhepi" userId="465ca860-f783-42b0-8ee2-de8a28a6736a" providerId="ADAL" clId="{F27899FD-BC5D-404F-8A35-A49A24A3E301}" dt="2023-06-07T09:10:41.803" v="519" actId="2696"/>
        <pc:sldMkLst>
          <pc:docMk/>
          <pc:sldMk cId="2006377789" sldId="927"/>
        </pc:sldMkLst>
        <pc:extLst>
          <p:ext xmlns:p="http://schemas.openxmlformats.org/presentationml/2006/main" uri="{D6D511B9-2390-475A-947B-AFAB55BFBCF1}">
            <pc226:cmChg xmlns:pc226="http://schemas.microsoft.com/office/powerpoint/2022/06/main/command" chg="del">
              <pc226:chgData name="Vita Rexhepi" userId="465ca860-f783-42b0-8ee2-de8a28a6736a" providerId="ADAL" clId="{F27899FD-BC5D-404F-8A35-A49A24A3E301}" dt="2023-06-07T09:05:47.836" v="25"/>
              <pc2:cmMkLst xmlns:pc2="http://schemas.microsoft.com/office/powerpoint/2019/9/main/command">
                <pc:docMk/>
                <pc:sldMk cId="2006377789" sldId="927"/>
                <pc2:cmMk id="{C0AC2433-56EF-48AF-9A02-1A386416826F}"/>
              </pc2:cmMkLst>
            </pc226:cmChg>
          </p:ext>
        </pc:extLst>
      </pc:sldChg>
      <pc:sldChg chg="add del">
        <pc:chgData name="Vita Rexhepi" userId="465ca860-f783-42b0-8ee2-de8a28a6736a" providerId="ADAL" clId="{F27899FD-BC5D-404F-8A35-A49A24A3E301}" dt="2023-06-07T09:11:14.452" v="523" actId="2696"/>
        <pc:sldMkLst>
          <pc:docMk/>
          <pc:sldMk cId="4135484729" sldId="928"/>
        </pc:sldMkLst>
      </pc:sldChg>
      <pc:sldChg chg="add del">
        <pc:chgData name="Vita Rexhepi" userId="465ca860-f783-42b0-8ee2-de8a28a6736a" providerId="ADAL" clId="{F27899FD-BC5D-404F-8A35-A49A24A3E301}" dt="2023-06-07T09:10:59.845" v="521" actId="2890"/>
        <pc:sldMkLst>
          <pc:docMk/>
          <pc:sldMk cId="1419256055" sldId="929"/>
        </pc:sldMkLst>
      </pc:sldChg>
      <pc:sldMasterChg chg="addSldLayout delSldLayout">
        <pc:chgData name="Vita Rexhepi" userId="465ca860-f783-42b0-8ee2-de8a28a6736a" providerId="ADAL" clId="{F27899FD-BC5D-404F-8A35-A49A24A3E301}" dt="2023-06-07T09:10:41.803" v="519" actId="2696"/>
        <pc:sldMasterMkLst>
          <pc:docMk/>
          <pc:sldMasterMk cId="576128267" sldId="2147483648"/>
        </pc:sldMasterMkLst>
        <pc:sldLayoutChg chg="add del">
          <pc:chgData name="Vita Rexhepi" userId="465ca860-f783-42b0-8ee2-de8a28a6736a" providerId="ADAL" clId="{F27899FD-BC5D-404F-8A35-A49A24A3E301}" dt="2023-06-07T09:10:41.803" v="519" actId="2696"/>
          <pc:sldLayoutMkLst>
            <pc:docMk/>
            <pc:sldMasterMk cId="576128267" sldId="2147483648"/>
            <pc:sldLayoutMk cId="397624856" sldId="2147483677"/>
          </pc:sldLayoutMkLst>
        </pc:sldLayoutChg>
      </pc:sldMasterChg>
    </pc:docChg>
  </pc:docChgLst>
  <pc:docChgLst>
    <pc:chgData name="Vita Rexhepi" userId="465ca860-f783-42b0-8ee2-de8a28a6736a" providerId="ADAL" clId="{FB8D0779-37F9-4F25-962D-EB9C632AAAC9}"/>
    <pc:docChg chg="undo custSel modSld">
      <pc:chgData name="Vita Rexhepi" userId="465ca860-f783-42b0-8ee2-de8a28a6736a" providerId="ADAL" clId="{FB8D0779-37F9-4F25-962D-EB9C632AAAC9}" dt="2023-10-31T09:26:46.292" v="848"/>
      <pc:docMkLst>
        <pc:docMk/>
      </pc:docMkLst>
      <pc:sldChg chg="modAnim">
        <pc:chgData name="Vita Rexhepi" userId="465ca860-f783-42b0-8ee2-de8a28a6736a" providerId="ADAL" clId="{FB8D0779-37F9-4F25-962D-EB9C632AAAC9}" dt="2023-10-30T14:18:59.709" v="9"/>
        <pc:sldMkLst>
          <pc:docMk/>
          <pc:sldMk cId="876605229" sldId="256"/>
        </pc:sldMkLst>
      </pc:sldChg>
      <pc:sldChg chg="modAnim">
        <pc:chgData name="Vita Rexhepi" userId="465ca860-f783-42b0-8ee2-de8a28a6736a" providerId="ADAL" clId="{FB8D0779-37F9-4F25-962D-EB9C632AAAC9}" dt="2023-10-30T14:21:11.029" v="33"/>
        <pc:sldMkLst>
          <pc:docMk/>
          <pc:sldMk cId="1913331388" sldId="258"/>
        </pc:sldMkLst>
      </pc:sldChg>
      <pc:sldChg chg="modSp mod modAnim">
        <pc:chgData name="Vita Rexhepi" userId="465ca860-f783-42b0-8ee2-de8a28a6736a" providerId="ADAL" clId="{FB8D0779-37F9-4F25-962D-EB9C632AAAC9}" dt="2023-10-30T14:28:43.925" v="177" actId="20577"/>
        <pc:sldMkLst>
          <pc:docMk/>
          <pc:sldMk cId="2112361714" sldId="259"/>
        </pc:sldMkLst>
        <pc:spChg chg="mod">
          <ac:chgData name="Vita Rexhepi" userId="465ca860-f783-42b0-8ee2-de8a28a6736a" providerId="ADAL" clId="{FB8D0779-37F9-4F25-962D-EB9C632AAAC9}" dt="2023-10-30T14:28:43.925" v="177" actId="20577"/>
          <ac:spMkLst>
            <pc:docMk/>
            <pc:sldMk cId="2112361714" sldId="259"/>
            <ac:spMk id="19" creationId="{6D59E5B1-17F5-45E4-B46B-A681D9434084}"/>
          </ac:spMkLst>
        </pc:spChg>
      </pc:sldChg>
      <pc:sldChg chg="modAnim">
        <pc:chgData name="Vita Rexhepi" userId="465ca860-f783-42b0-8ee2-de8a28a6736a" providerId="ADAL" clId="{FB8D0779-37F9-4F25-962D-EB9C632AAAC9}" dt="2023-10-31T09:20:02.803" v="783"/>
        <pc:sldMkLst>
          <pc:docMk/>
          <pc:sldMk cId="1895001975" sldId="282"/>
        </pc:sldMkLst>
      </pc:sldChg>
      <pc:sldChg chg="modSp">
        <pc:chgData name="Vita Rexhepi" userId="465ca860-f783-42b0-8ee2-de8a28a6736a" providerId="ADAL" clId="{FB8D0779-37F9-4F25-962D-EB9C632AAAC9}" dt="2023-10-30T14:22:54.357" v="62" actId="20577"/>
        <pc:sldMkLst>
          <pc:docMk/>
          <pc:sldMk cId="3197428341" sldId="290"/>
        </pc:sldMkLst>
        <pc:spChg chg="mod">
          <ac:chgData name="Vita Rexhepi" userId="465ca860-f783-42b0-8ee2-de8a28a6736a" providerId="ADAL" clId="{FB8D0779-37F9-4F25-962D-EB9C632AAAC9}" dt="2023-10-30T14:22:54.357" v="62" actId="20577"/>
          <ac:spMkLst>
            <pc:docMk/>
            <pc:sldMk cId="3197428341" sldId="290"/>
            <ac:spMk id="14" creationId="{53C2D7D9-7F5F-47A2-AFFF-81AB26473591}"/>
          </ac:spMkLst>
        </pc:spChg>
      </pc:sldChg>
      <pc:sldChg chg="modSp">
        <pc:chgData name="Vita Rexhepi" userId="465ca860-f783-42b0-8ee2-de8a28a6736a" providerId="ADAL" clId="{FB8D0779-37F9-4F25-962D-EB9C632AAAC9}" dt="2023-10-30T14:38:38.396" v="316" actId="20577"/>
        <pc:sldMkLst>
          <pc:docMk/>
          <pc:sldMk cId="4066983310" sldId="294"/>
        </pc:sldMkLst>
        <pc:spChg chg="mod">
          <ac:chgData name="Vita Rexhepi" userId="465ca860-f783-42b0-8ee2-de8a28a6736a" providerId="ADAL" clId="{FB8D0779-37F9-4F25-962D-EB9C632AAAC9}" dt="2023-10-30T14:38:38.396" v="316" actId="20577"/>
          <ac:spMkLst>
            <pc:docMk/>
            <pc:sldMk cId="4066983310" sldId="294"/>
            <ac:spMk id="5" creationId="{78F33552-946A-7B99-27B2-1C48F5B6A36D}"/>
          </ac:spMkLst>
        </pc:spChg>
      </pc:sldChg>
      <pc:sldChg chg="delSp modSp mod">
        <pc:chgData name="Vita Rexhepi" userId="465ca860-f783-42b0-8ee2-de8a28a6736a" providerId="ADAL" clId="{FB8D0779-37F9-4F25-962D-EB9C632AAAC9}" dt="2023-10-31T09:22:46.913" v="800" actId="478"/>
        <pc:sldMkLst>
          <pc:docMk/>
          <pc:sldMk cId="95002971" sldId="929"/>
        </pc:sldMkLst>
        <pc:spChg chg="mod">
          <ac:chgData name="Vita Rexhepi" userId="465ca860-f783-42b0-8ee2-de8a28a6736a" providerId="ADAL" clId="{FB8D0779-37F9-4F25-962D-EB9C632AAAC9}" dt="2023-10-30T14:23:25.080" v="66" actId="5793"/>
          <ac:spMkLst>
            <pc:docMk/>
            <pc:sldMk cId="95002971" sldId="929"/>
            <ac:spMk id="2" creationId="{AF6D40EB-1575-D5B9-2FBB-E378E32BC630}"/>
          </ac:spMkLst>
        </pc:spChg>
        <pc:spChg chg="del">
          <ac:chgData name="Vita Rexhepi" userId="465ca860-f783-42b0-8ee2-de8a28a6736a" providerId="ADAL" clId="{FB8D0779-37F9-4F25-962D-EB9C632AAAC9}" dt="2023-10-31T09:22:46.913" v="800" actId="478"/>
          <ac:spMkLst>
            <pc:docMk/>
            <pc:sldMk cId="95002971" sldId="929"/>
            <ac:spMk id="20" creationId="{9D30D053-D0E9-44FB-8AE6-0F71A690D06D}"/>
          </ac:spMkLst>
        </pc:spChg>
      </pc:sldChg>
      <pc:sldChg chg="modSp">
        <pc:chgData name="Vita Rexhepi" userId="465ca860-f783-42b0-8ee2-de8a28a6736a" providerId="ADAL" clId="{FB8D0779-37F9-4F25-962D-EB9C632AAAC9}" dt="2023-10-30T14:25:42.716" v="120"/>
        <pc:sldMkLst>
          <pc:docMk/>
          <pc:sldMk cId="2545870573" sldId="931"/>
        </pc:sldMkLst>
        <pc:spChg chg="mod">
          <ac:chgData name="Vita Rexhepi" userId="465ca860-f783-42b0-8ee2-de8a28a6736a" providerId="ADAL" clId="{FB8D0779-37F9-4F25-962D-EB9C632AAAC9}" dt="2023-10-30T14:25:42.716" v="120"/>
          <ac:spMkLst>
            <pc:docMk/>
            <pc:sldMk cId="2545870573" sldId="931"/>
            <ac:spMk id="10" creationId="{EE1CDB2C-E902-8952-021B-09DC804403C6}"/>
          </ac:spMkLst>
        </pc:spChg>
      </pc:sldChg>
      <pc:sldChg chg="modSp">
        <pc:chgData name="Vita Rexhepi" userId="465ca860-f783-42b0-8ee2-de8a28a6736a" providerId="ADAL" clId="{FB8D0779-37F9-4F25-962D-EB9C632AAAC9}" dt="2023-10-30T14:29:13.712" v="178" actId="20577"/>
        <pc:sldMkLst>
          <pc:docMk/>
          <pc:sldMk cId="4222272179" sldId="934"/>
        </pc:sldMkLst>
        <pc:spChg chg="mod">
          <ac:chgData name="Vita Rexhepi" userId="465ca860-f783-42b0-8ee2-de8a28a6736a" providerId="ADAL" clId="{FB8D0779-37F9-4F25-962D-EB9C632AAAC9}" dt="2023-10-30T14:29:13.712" v="178" actId="20577"/>
          <ac:spMkLst>
            <pc:docMk/>
            <pc:sldMk cId="4222272179" sldId="934"/>
            <ac:spMk id="2" creationId="{AF6D40EB-1575-D5B9-2FBB-E378E32BC630}"/>
          </ac:spMkLst>
        </pc:spChg>
      </pc:sldChg>
      <pc:sldChg chg="modSp">
        <pc:chgData name="Vita Rexhepi" userId="465ca860-f783-42b0-8ee2-de8a28a6736a" providerId="ADAL" clId="{FB8D0779-37F9-4F25-962D-EB9C632AAAC9}" dt="2023-10-30T14:26:31.179" v="142" actId="20577"/>
        <pc:sldMkLst>
          <pc:docMk/>
          <pc:sldMk cId="626066100" sldId="935"/>
        </pc:sldMkLst>
        <pc:spChg chg="mod">
          <ac:chgData name="Vita Rexhepi" userId="465ca860-f783-42b0-8ee2-de8a28a6736a" providerId="ADAL" clId="{FB8D0779-37F9-4F25-962D-EB9C632AAAC9}" dt="2023-10-30T14:26:31.179" v="142" actId="20577"/>
          <ac:spMkLst>
            <pc:docMk/>
            <pc:sldMk cId="626066100" sldId="935"/>
            <ac:spMk id="2" creationId="{AF6D40EB-1575-D5B9-2FBB-E378E32BC630}"/>
          </ac:spMkLst>
        </pc:spChg>
      </pc:sldChg>
      <pc:sldChg chg="modSp">
        <pc:chgData name="Vita Rexhepi" userId="465ca860-f783-42b0-8ee2-de8a28a6736a" providerId="ADAL" clId="{FB8D0779-37F9-4F25-962D-EB9C632AAAC9}" dt="2023-10-30T14:29:24.535" v="179" actId="20577"/>
        <pc:sldMkLst>
          <pc:docMk/>
          <pc:sldMk cId="978975697" sldId="936"/>
        </pc:sldMkLst>
        <pc:spChg chg="mod">
          <ac:chgData name="Vita Rexhepi" userId="465ca860-f783-42b0-8ee2-de8a28a6736a" providerId="ADAL" clId="{FB8D0779-37F9-4F25-962D-EB9C632AAAC9}" dt="2023-10-30T14:29:24.535" v="179" actId="20577"/>
          <ac:spMkLst>
            <pc:docMk/>
            <pc:sldMk cId="978975697" sldId="936"/>
            <ac:spMk id="12" creationId="{34DC3C6D-6FD6-43F5-B034-C60170C1DD4D}"/>
          </ac:spMkLst>
        </pc:spChg>
      </pc:sldChg>
      <pc:sldChg chg="modSp mod modAnim">
        <pc:chgData name="Vita Rexhepi" userId="465ca860-f783-42b0-8ee2-de8a28a6736a" providerId="ADAL" clId="{FB8D0779-37F9-4F25-962D-EB9C632AAAC9}" dt="2023-10-30T14:34:50.447" v="265"/>
        <pc:sldMkLst>
          <pc:docMk/>
          <pc:sldMk cId="3592160475" sldId="938"/>
        </pc:sldMkLst>
        <pc:spChg chg="mod">
          <ac:chgData name="Vita Rexhepi" userId="465ca860-f783-42b0-8ee2-de8a28a6736a" providerId="ADAL" clId="{FB8D0779-37F9-4F25-962D-EB9C632AAAC9}" dt="2023-10-30T14:29:54.700" v="197" actId="120"/>
          <ac:spMkLst>
            <pc:docMk/>
            <pc:sldMk cId="3592160475" sldId="938"/>
            <ac:spMk id="35" creationId="{5CCA197E-2C48-3526-EA18-1FEED64B848E}"/>
          </ac:spMkLst>
        </pc:spChg>
        <pc:spChg chg="mod">
          <ac:chgData name="Vita Rexhepi" userId="465ca860-f783-42b0-8ee2-de8a28a6736a" providerId="ADAL" clId="{FB8D0779-37F9-4F25-962D-EB9C632AAAC9}" dt="2023-10-30T14:29:51.837" v="196" actId="120"/>
          <ac:spMkLst>
            <pc:docMk/>
            <pc:sldMk cId="3592160475" sldId="938"/>
            <ac:spMk id="36" creationId="{671C5EEF-52F7-2F36-6867-05DC04FDFDEA}"/>
          </ac:spMkLst>
        </pc:spChg>
      </pc:sldChg>
      <pc:sldChg chg="modSp mod modAnim">
        <pc:chgData name="Vita Rexhepi" userId="465ca860-f783-42b0-8ee2-de8a28a6736a" providerId="ADAL" clId="{FB8D0779-37F9-4F25-962D-EB9C632AAAC9}" dt="2023-10-31T08:47:24.240" v="607"/>
        <pc:sldMkLst>
          <pc:docMk/>
          <pc:sldMk cId="3754917938" sldId="939"/>
        </pc:sldMkLst>
        <pc:spChg chg="mod">
          <ac:chgData name="Vita Rexhepi" userId="465ca860-f783-42b0-8ee2-de8a28a6736a" providerId="ADAL" clId="{FB8D0779-37F9-4F25-962D-EB9C632AAAC9}" dt="2023-10-30T14:30:44.912" v="205" actId="122"/>
          <ac:spMkLst>
            <pc:docMk/>
            <pc:sldMk cId="3754917938" sldId="939"/>
            <ac:spMk id="2" creationId="{1DE1F1F5-CCA5-B262-148A-899285723D99}"/>
          </ac:spMkLst>
        </pc:spChg>
        <pc:spChg chg="mod">
          <ac:chgData name="Vita Rexhepi" userId="465ca860-f783-42b0-8ee2-de8a28a6736a" providerId="ADAL" clId="{FB8D0779-37F9-4F25-962D-EB9C632AAAC9}" dt="2023-10-30T14:31:38.864" v="237" actId="12789"/>
          <ac:spMkLst>
            <pc:docMk/>
            <pc:sldMk cId="3754917938" sldId="939"/>
            <ac:spMk id="14" creationId="{1CD7911E-1F49-D91E-DE1F-B479AE07FA5B}"/>
          </ac:spMkLst>
        </pc:spChg>
        <pc:grpChg chg="mod">
          <ac:chgData name="Vita Rexhepi" userId="465ca860-f783-42b0-8ee2-de8a28a6736a" providerId="ADAL" clId="{FB8D0779-37F9-4F25-962D-EB9C632AAAC9}" dt="2023-10-30T14:33:23.184" v="251" actId="1037"/>
          <ac:grpSpMkLst>
            <pc:docMk/>
            <pc:sldMk cId="3754917938" sldId="939"/>
            <ac:grpSpMk id="7" creationId="{3D9F93E1-39A3-236F-75CA-C9231FA7A471}"/>
          </ac:grpSpMkLst>
        </pc:grpChg>
        <pc:grpChg chg="mod">
          <ac:chgData name="Vita Rexhepi" userId="465ca860-f783-42b0-8ee2-de8a28a6736a" providerId="ADAL" clId="{FB8D0779-37F9-4F25-962D-EB9C632AAAC9}" dt="2023-10-30T14:33:23.184" v="251" actId="1037"/>
          <ac:grpSpMkLst>
            <pc:docMk/>
            <pc:sldMk cId="3754917938" sldId="939"/>
            <ac:grpSpMk id="12" creationId="{2BB94050-7EE6-4B9A-03F8-7A6F94611796}"/>
          </ac:grpSpMkLst>
        </pc:grpChg>
        <pc:grpChg chg="mod">
          <ac:chgData name="Vita Rexhepi" userId="465ca860-f783-42b0-8ee2-de8a28a6736a" providerId="ADAL" clId="{FB8D0779-37F9-4F25-962D-EB9C632AAAC9}" dt="2023-10-30T14:33:23.184" v="251" actId="1037"/>
          <ac:grpSpMkLst>
            <pc:docMk/>
            <pc:sldMk cId="3754917938" sldId="939"/>
            <ac:grpSpMk id="18" creationId="{1F900AE4-ADCD-4DB9-8D57-B6DC69D7C7CE}"/>
          </ac:grpSpMkLst>
        </pc:grpChg>
        <pc:grpChg chg="mod">
          <ac:chgData name="Vita Rexhepi" userId="465ca860-f783-42b0-8ee2-de8a28a6736a" providerId="ADAL" clId="{FB8D0779-37F9-4F25-962D-EB9C632AAAC9}" dt="2023-10-30T14:33:23.184" v="251" actId="1037"/>
          <ac:grpSpMkLst>
            <pc:docMk/>
            <pc:sldMk cId="3754917938" sldId="939"/>
            <ac:grpSpMk id="25" creationId="{37D0B9E5-5FA6-6E38-D834-D61C5D955229}"/>
          </ac:grpSpMkLst>
        </pc:grpChg>
        <pc:cxnChg chg="ord">
          <ac:chgData name="Vita Rexhepi" userId="465ca860-f783-42b0-8ee2-de8a28a6736a" providerId="ADAL" clId="{FB8D0779-37F9-4F25-962D-EB9C632AAAC9}" dt="2023-10-30T14:32:49.339" v="243" actId="166"/>
          <ac:cxnSpMkLst>
            <pc:docMk/>
            <pc:sldMk cId="3754917938" sldId="939"/>
            <ac:cxnSpMk id="17" creationId="{2B5FE90B-68C4-7A1B-4F69-8EF3E1CBFBE1}"/>
          </ac:cxnSpMkLst>
        </pc:cxnChg>
      </pc:sldChg>
      <pc:sldChg chg="modSp mod modAnim">
        <pc:chgData name="Vita Rexhepi" userId="465ca860-f783-42b0-8ee2-de8a28a6736a" providerId="ADAL" clId="{FB8D0779-37F9-4F25-962D-EB9C632AAAC9}" dt="2023-10-31T08:45:49.594" v="586"/>
        <pc:sldMkLst>
          <pc:docMk/>
          <pc:sldMk cId="3451801758" sldId="940"/>
        </pc:sldMkLst>
        <pc:spChg chg="mod">
          <ac:chgData name="Vita Rexhepi" userId="465ca860-f783-42b0-8ee2-de8a28a6736a" providerId="ADAL" clId="{FB8D0779-37F9-4F25-962D-EB9C632AAAC9}" dt="2023-10-30T14:33:56.303" v="254" actId="255"/>
          <ac:spMkLst>
            <pc:docMk/>
            <pc:sldMk cId="3451801758" sldId="940"/>
            <ac:spMk id="5" creationId="{68F41247-C300-2913-046A-796E4DB88492}"/>
          </ac:spMkLst>
        </pc:spChg>
        <pc:spChg chg="mod">
          <ac:chgData name="Vita Rexhepi" userId="465ca860-f783-42b0-8ee2-de8a28a6736a" providerId="ADAL" clId="{FB8D0779-37F9-4F25-962D-EB9C632AAAC9}" dt="2023-10-30T14:33:45.722" v="252" actId="255"/>
          <ac:spMkLst>
            <pc:docMk/>
            <pc:sldMk cId="3451801758" sldId="940"/>
            <ac:spMk id="11" creationId="{BCDA7BBF-1688-6CF4-9AAC-11A34A7BD292}"/>
          </ac:spMkLst>
        </pc:spChg>
        <pc:spChg chg="mod">
          <ac:chgData name="Vita Rexhepi" userId="465ca860-f783-42b0-8ee2-de8a28a6736a" providerId="ADAL" clId="{FB8D0779-37F9-4F25-962D-EB9C632AAAC9}" dt="2023-10-30T14:34:22.639" v="260" actId="20577"/>
          <ac:spMkLst>
            <pc:docMk/>
            <pc:sldMk cId="3451801758" sldId="940"/>
            <ac:spMk id="12" creationId="{FEA4B2EF-B146-8396-47D7-A23EE6B2EC7C}"/>
          </ac:spMkLst>
        </pc:spChg>
        <pc:spChg chg="mod">
          <ac:chgData name="Vita Rexhepi" userId="465ca860-f783-42b0-8ee2-de8a28a6736a" providerId="ADAL" clId="{FB8D0779-37F9-4F25-962D-EB9C632AAAC9}" dt="2023-10-30T14:34:25.430" v="261" actId="20577"/>
          <ac:spMkLst>
            <pc:docMk/>
            <pc:sldMk cId="3451801758" sldId="940"/>
            <ac:spMk id="13" creationId="{202DC442-FBAD-E5DE-FAA0-E3C349C24370}"/>
          </ac:spMkLst>
        </pc:spChg>
        <pc:spChg chg="mod">
          <ac:chgData name="Vita Rexhepi" userId="465ca860-f783-42b0-8ee2-de8a28a6736a" providerId="ADAL" clId="{FB8D0779-37F9-4F25-962D-EB9C632AAAC9}" dt="2023-10-30T14:34:28.460" v="262" actId="20577"/>
          <ac:spMkLst>
            <pc:docMk/>
            <pc:sldMk cId="3451801758" sldId="940"/>
            <ac:spMk id="14" creationId="{3148FD20-333A-59D6-5B92-8BEF566AB1B7}"/>
          </ac:spMkLst>
        </pc:spChg>
        <pc:spChg chg="mod">
          <ac:chgData name="Vita Rexhepi" userId="465ca860-f783-42b0-8ee2-de8a28a6736a" providerId="ADAL" clId="{FB8D0779-37F9-4F25-962D-EB9C632AAAC9}" dt="2023-10-30T14:34:01.416" v="255" actId="255"/>
          <ac:spMkLst>
            <pc:docMk/>
            <pc:sldMk cId="3451801758" sldId="940"/>
            <ac:spMk id="15" creationId="{25710FAD-CB92-BD8D-8F56-CF2E3876E343}"/>
          </ac:spMkLst>
        </pc:spChg>
      </pc:sldChg>
      <pc:sldChg chg="delSp modSp mod modAnim">
        <pc:chgData name="Vita Rexhepi" userId="465ca860-f783-42b0-8ee2-de8a28a6736a" providerId="ADAL" clId="{FB8D0779-37F9-4F25-962D-EB9C632AAAC9}" dt="2023-10-31T08:55:33.884" v="744"/>
        <pc:sldMkLst>
          <pc:docMk/>
          <pc:sldMk cId="3843498221" sldId="941"/>
        </pc:sldMkLst>
        <pc:spChg chg="mod">
          <ac:chgData name="Vita Rexhepi" userId="465ca860-f783-42b0-8ee2-de8a28a6736a" providerId="ADAL" clId="{FB8D0779-37F9-4F25-962D-EB9C632AAAC9}" dt="2023-10-31T08:51:24.284" v="663" actId="14100"/>
          <ac:spMkLst>
            <pc:docMk/>
            <pc:sldMk cId="3843498221" sldId="941"/>
            <ac:spMk id="12" creationId="{D5348136-9B18-AAB3-3912-A1DF729E24B1}"/>
          </ac:spMkLst>
        </pc:spChg>
        <pc:spChg chg="mod">
          <ac:chgData name="Vita Rexhepi" userId="465ca860-f783-42b0-8ee2-de8a28a6736a" providerId="ADAL" clId="{FB8D0779-37F9-4F25-962D-EB9C632AAAC9}" dt="2023-10-31T08:51:23.617" v="662" actId="14100"/>
          <ac:spMkLst>
            <pc:docMk/>
            <pc:sldMk cId="3843498221" sldId="941"/>
            <ac:spMk id="28" creationId="{F900C6D4-0C16-D0F8-64C6-03EB5BCCB31D}"/>
          </ac:spMkLst>
        </pc:spChg>
        <pc:spChg chg="mod">
          <ac:chgData name="Vita Rexhepi" userId="465ca860-f783-42b0-8ee2-de8a28a6736a" providerId="ADAL" clId="{FB8D0779-37F9-4F25-962D-EB9C632AAAC9}" dt="2023-10-31T08:50:42.486" v="659" actId="20577"/>
          <ac:spMkLst>
            <pc:docMk/>
            <pc:sldMk cId="3843498221" sldId="941"/>
            <ac:spMk id="35" creationId="{95DC152C-743B-4BC2-4E06-BAEB0EDB536D}"/>
          </ac:spMkLst>
        </pc:spChg>
        <pc:spChg chg="mod">
          <ac:chgData name="Vita Rexhepi" userId="465ca860-f783-42b0-8ee2-de8a28a6736a" providerId="ADAL" clId="{FB8D0779-37F9-4F25-962D-EB9C632AAAC9}" dt="2023-10-31T08:55:21.101" v="743" actId="1038"/>
          <ac:spMkLst>
            <pc:docMk/>
            <pc:sldMk cId="3843498221" sldId="941"/>
            <ac:spMk id="46" creationId="{79000678-63EB-E572-8FBB-2A540454C1EF}"/>
          </ac:spMkLst>
        </pc:spChg>
        <pc:spChg chg="mod">
          <ac:chgData name="Vita Rexhepi" userId="465ca860-f783-42b0-8ee2-de8a28a6736a" providerId="ADAL" clId="{FB8D0779-37F9-4F25-962D-EB9C632AAAC9}" dt="2023-10-31T08:55:13.936" v="736" actId="1038"/>
          <ac:spMkLst>
            <pc:docMk/>
            <pc:sldMk cId="3843498221" sldId="941"/>
            <ac:spMk id="111" creationId="{D6B528EC-9F3B-308C-EB1F-38BC8F36A817}"/>
          </ac:spMkLst>
        </pc:spChg>
        <pc:spChg chg="mod">
          <ac:chgData name="Vita Rexhepi" userId="465ca860-f783-42b0-8ee2-de8a28a6736a" providerId="ADAL" clId="{FB8D0779-37F9-4F25-962D-EB9C632AAAC9}" dt="2023-10-31T08:55:09.649" v="735" actId="1037"/>
          <ac:spMkLst>
            <pc:docMk/>
            <pc:sldMk cId="3843498221" sldId="941"/>
            <ac:spMk id="112" creationId="{5BEF6BC9-DF42-20D3-CB16-1ED0EF4FB1FC}"/>
          </ac:spMkLst>
        </pc:spChg>
        <pc:grpChg chg="mod">
          <ac:chgData name="Vita Rexhepi" userId="465ca860-f783-42b0-8ee2-de8a28a6736a" providerId="ADAL" clId="{FB8D0779-37F9-4F25-962D-EB9C632AAAC9}" dt="2023-10-31T08:54:54.394" v="731" actId="12788"/>
          <ac:grpSpMkLst>
            <pc:docMk/>
            <pc:sldMk cId="3843498221" sldId="941"/>
            <ac:grpSpMk id="114" creationId="{776E1245-8EA5-3D94-5EBC-51CABC673F91}"/>
          </ac:grpSpMkLst>
        </pc:grpChg>
        <pc:grpChg chg="mod">
          <ac:chgData name="Vita Rexhepi" userId="465ca860-f783-42b0-8ee2-de8a28a6736a" providerId="ADAL" clId="{FB8D0779-37F9-4F25-962D-EB9C632AAAC9}" dt="2023-10-31T08:51:57.771" v="671" actId="12788"/>
          <ac:grpSpMkLst>
            <pc:docMk/>
            <pc:sldMk cId="3843498221" sldId="941"/>
            <ac:grpSpMk id="115" creationId="{C1A0C40F-7B0F-B6D6-892B-E27A0AA3B8C1}"/>
          </ac:grpSpMkLst>
        </pc:grpChg>
        <pc:picChg chg="del">
          <ac:chgData name="Vita Rexhepi" userId="465ca860-f783-42b0-8ee2-de8a28a6736a" providerId="ADAL" clId="{FB8D0779-37F9-4F25-962D-EB9C632AAAC9}" dt="2023-10-31T08:54:36.964" v="728" actId="478"/>
          <ac:picMkLst>
            <pc:docMk/>
            <pc:sldMk cId="3843498221" sldId="941"/>
            <ac:picMk id="70" creationId="{86476C5E-0180-5DCB-1F12-8B51F1444E84}"/>
          </ac:picMkLst>
        </pc:picChg>
      </pc:sldChg>
      <pc:sldChg chg="modSp mod">
        <pc:chgData name="Vita Rexhepi" userId="465ca860-f783-42b0-8ee2-de8a28a6736a" providerId="ADAL" clId="{FB8D0779-37F9-4F25-962D-EB9C632AAAC9}" dt="2023-10-30T14:43:04.162" v="555" actId="2710"/>
        <pc:sldMkLst>
          <pc:docMk/>
          <pc:sldMk cId="1682270026" sldId="942"/>
        </pc:sldMkLst>
        <pc:spChg chg="mod">
          <ac:chgData name="Vita Rexhepi" userId="465ca860-f783-42b0-8ee2-de8a28a6736a" providerId="ADAL" clId="{FB8D0779-37F9-4F25-962D-EB9C632AAAC9}" dt="2023-10-30T14:43:04.162" v="555" actId="2710"/>
          <ac:spMkLst>
            <pc:docMk/>
            <pc:sldMk cId="1682270026" sldId="942"/>
            <ac:spMk id="4" creationId="{78747543-1FEB-C3E9-33C3-FCB2BAE59B68}"/>
          </ac:spMkLst>
        </pc:spChg>
      </pc:sldChg>
      <pc:sldChg chg="modSp mod modAnim">
        <pc:chgData name="Vita Rexhepi" userId="465ca860-f783-42b0-8ee2-de8a28a6736a" providerId="ADAL" clId="{FB8D0779-37F9-4F25-962D-EB9C632AAAC9}" dt="2023-10-31T08:58:38.850" v="756"/>
        <pc:sldMkLst>
          <pc:docMk/>
          <pc:sldMk cId="3510692577" sldId="943"/>
        </pc:sldMkLst>
        <pc:spChg chg="mod">
          <ac:chgData name="Vita Rexhepi" userId="465ca860-f783-42b0-8ee2-de8a28a6736a" providerId="ADAL" clId="{FB8D0779-37F9-4F25-962D-EB9C632AAAC9}" dt="2023-10-30T14:42:11.433" v="542" actId="1036"/>
          <ac:spMkLst>
            <pc:docMk/>
            <pc:sldMk cId="3510692577" sldId="943"/>
            <ac:spMk id="8" creationId="{0079B259-F7DC-5F9C-7A14-8CE4F61D9868}"/>
          </ac:spMkLst>
        </pc:spChg>
        <pc:spChg chg="mod">
          <ac:chgData name="Vita Rexhepi" userId="465ca860-f783-42b0-8ee2-de8a28a6736a" providerId="ADAL" clId="{FB8D0779-37F9-4F25-962D-EB9C632AAAC9}" dt="2023-10-30T14:42:03.034" v="540" actId="1036"/>
          <ac:spMkLst>
            <pc:docMk/>
            <pc:sldMk cId="3510692577" sldId="943"/>
            <ac:spMk id="9" creationId="{DCC9B168-2850-59B2-CBDB-D4903891357C}"/>
          </ac:spMkLst>
        </pc:spChg>
        <pc:spChg chg="mod">
          <ac:chgData name="Vita Rexhepi" userId="465ca860-f783-42b0-8ee2-de8a28a6736a" providerId="ADAL" clId="{FB8D0779-37F9-4F25-962D-EB9C632AAAC9}" dt="2023-10-30T14:40:58.140" v="415" actId="1036"/>
          <ac:spMkLst>
            <pc:docMk/>
            <pc:sldMk cId="3510692577" sldId="943"/>
            <ac:spMk id="10" creationId="{02A5D70B-2213-9C76-960C-22EB0EB0C878}"/>
          </ac:spMkLst>
        </pc:spChg>
        <pc:spChg chg="mod">
          <ac:chgData name="Vita Rexhepi" userId="465ca860-f783-42b0-8ee2-de8a28a6736a" providerId="ADAL" clId="{FB8D0779-37F9-4F25-962D-EB9C632AAAC9}" dt="2023-10-30T14:40:35.686" v="373" actId="1036"/>
          <ac:spMkLst>
            <pc:docMk/>
            <pc:sldMk cId="3510692577" sldId="943"/>
            <ac:spMk id="11" creationId="{C3264B60-9699-3196-21DF-8A053211D163}"/>
          </ac:spMkLst>
        </pc:spChg>
        <pc:spChg chg="mod">
          <ac:chgData name="Vita Rexhepi" userId="465ca860-f783-42b0-8ee2-de8a28a6736a" providerId="ADAL" clId="{FB8D0779-37F9-4F25-962D-EB9C632AAAC9}" dt="2023-10-30T14:40:35.686" v="373" actId="1036"/>
          <ac:spMkLst>
            <pc:docMk/>
            <pc:sldMk cId="3510692577" sldId="943"/>
            <ac:spMk id="18" creationId="{A6A7F42F-79CA-17A8-8E8C-C8638D7F5254}"/>
          </ac:spMkLst>
        </pc:spChg>
        <pc:spChg chg="mod">
          <ac:chgData name="Vita Rexhepi" userId="465ca860-f783-42b0-8ee2-de8a28a6736a" providerId="ADAL" clId="{FB8D0779-37F9-4F25-962D-EB9C632AAAC9}" dt="2023-10-30T14:41:51.227" v="530" actId="1035"/>
          <ac:spMkLst>
            <pc:docMk/>
            <pc:sldMk cId="3510692577" sldId="943"/>
            <ac:spMk id="19" creationId="{741103B9-58D4-0E0B-058D-7D1F7C5C6059}"/>
          </ac:spMkLst>
        </pc:spChg>
        <pc:spChg chg="mod">
          <ac:chgData name="Vita Rexhepi" userId="465ca860-f783-42b0-8ee2-de8a28a6736a" providerId="ADAL" clId="{FB8D0779-37F9-4F25-962D-EB9C632AAAC9}" dt="2023-10-30T14:41:08.226" v="439" actId="1035"/>
          <ac:spMkLst>
            <pc:docMk/>
            <pc:sldMk cId="3510692577" sldId="943"/>
            <ac:spMk id="22" creationId="{F55BB1A3-8256-177D-A773-98FD8917D7BD}"/>
          </ac:spMkLst>
        </pc:spChg>
        <pc:spChg chg="mod">
          <ac:chgData name="Vita Rexhepi" userId="465ca860-f783-42b0-8ee2-de8a28a6736a" providerId="ADAL" clId="{FB8D0779-37F9-4F25-962D-EB9C632AAAC9}" dt="2023-10-30T14:41:08.226" v="439" actId="1035"/>
          <ac:spMkLst>
            <pc:docMk/>
            <pc:sldMk cId="3510692577" sldId="943"/>
            <ac:spMk id="23" creationId="{EDF0684A-3D06-2285-7EDE-9AD6B5BABEE3}"/>
          </ac:spMkLst>
        </pc:spChg>
        <pc:spChg chg="mod">
          <ac:chgData name="Vita Rexhepi" userId="465ca860-f783-42b0-8ee2-de8a28a6736a" providerId="ADAL" clId="{FB8D0779-37F9-4F25-962D-EB9C632AAAC9}" dt="2023-10-30T14:41:23.038" v="468" actId="1036"/>
          <ac:spMkLst>
            <pc:docMk/>
            <pc:sldMk cId="3510692577" sldId="943"/>
            <ac:spMk id="24" creationId="{E32D6A6C-D49A-3B2A-AB9E-2FB4BFBBE4C7}"/>
          </ac:spMkLst>
        </pc:spChg>
        <pc:spChg chg="mod">
          <ac:chgData name="Vita Rexhepi" userId="465ca860-f783-42b0-8ee2-de8a28a6736a" providerId="ADAL" clId="{FB8D0779-37F9-4F25-962D-EB9C632AAAC9}" dt="2023-10-30T14:41:23.038" v="468" actId="1036"/>
          <ac:spMkLst>
            <pc:docMk/>
            <pc:sldMk cId="3510692577" sldId="943"/>
            <ac:spMk id="25" creationId="{C50992DD-047D-26FD-8F93-C0D40AA72F23}"/>
          </ac:spMkLst>
        </pc:spChg>
      </pc:sldChg>
      <pc:sldChg chg="modSp mod modAnim">
        <pc:chgData name="Vita Rexhepi" userId="465ca860-f783-42b0-8ee2-de8a28a6736a" providerId="ADAL" clId="{FB8D0779-37F9-4F25-962D-EB9C632AAAC9}" dt="2023-10-31T09:19:04.971" v="778"/>
        <pc:sldMkLst>
          <pc:docMk/>
          <pc:sldMk cId="4077384922" sldId="944"/>
        </pc:sldMkLst>
        <pc:spChg chg="mod">
          <ac:chgData name="Vita Rexhepi" userId="465ca860-f783-42b0-8ee2-de8a28a6736a" providerId="ADAL" clId="{FB8D0779-37F9-4F25-962D-EB9C632AAAC9}" dt="2023-10-30T14:43:24.230" v="557" actId="255"/>
          <ac:spMkLst>
            <pc:docMk/>
            <pc:sldMk cId="4077384922" sldId="944"/>
            <ac:spMk id="4" creationId="{81B047B0-6EC2-B0E3-ECCF-8BD3DE605B55}"/>
          </ac:spMkLst>
        </pc:spChg>
      </pc:sldChg>
      <pc:sldChg chg="modAnim">
        <pc:chgData name="Vita Rexhepi" userId="465ca860-f783-42b0-8ee2-de8a28a6736a" providerId="ADAL" clId="{FB8D0779-37F9-4F25-962D-EB9C632AAAC9}" dt="2023-10-31T09:25:47.996" v="833"/>
        <pc:sldMkLst>
          <pc:docMk/>
          <pc:sldMk cId="2256317655" sldId="945"/>
        </pc:sldMkLst>
      </pc:sldChg>
      <pc:sldChg chg="modSp mod modAnim">
        <pc:chgData name="Vita Rexhepi" userId="465ca860-f783-42b0-8ee2-de8a28a6736a" providerId="ADAL" clId="{FB8D0779-37F9-4F25-962D-EB9C632AAAC9}" dt="2023-10-31T09:26:13.396" v="837"/>
        <pc:sldMkLst>
          <pc:docMk/>
          <pc:sldMk cId="2498661594" sldId="946"/>
        </pc:sldMkLst>
        <pc:spChg chg="mod">
          <ac:chgData name="Vita Rexhepi" userId="465ca860-f783-42b0-8ee2-de8a28a6736a" providerId="ADAL" clId="{FB8D0779-37F9-4F25-962D-EB9C632AAAC9}" dt="2023-10-31T09:25:10.265" v="830" actId="255"/>
          <ac:spMkLst>
            <pc:docMk/>
            <pc:sldMk cId="2498661594" sldId="946"/>
            <ac:spMk id="4" creationId="{D028D92D-A303-D237-6A1C-6E19D9A5294B}"/>
          </ac:spMkLst>
        </pc:spChg>
        <pc:spChg chg="mod">
          <ac:chgData name="Vita Rexhepi" userId="465ca860-f783-42b0-8ee2-de8a28a6736a" providerId="ADAL" clId="{FB8D0779-37F9-4F25-962D-EB9C632AAAC9}" dt="2023-10-31T09:25:10.265" v="830" actId="255"/>
          <ac:spMkLst>
            <pc:docMk/>
            <pc:sldMk cId="2498661594" sldId="946"/>
            <ac:spMk id="5" creationId="{092D4188-0D3E-CCA2-4F5C-4FD95539A6B7}"/>
          </ac:spMkLst>
        </pc:spChg>
        <pc:spChg chg="mod">
          <ac:chgData name="Vita Rexhepi" userId="465ca860-f783-42b0-8ee2-de8a28a6736a" providerId="ADAL" clId="{FB8D0779-37F9-4F25-962D-EB9C632AAAC9}" dt="2023-10-31T09:25:10.265" v="830" actId="255"/>
          <ac:spMkLst>
            <pc:docMk/>
            <pc:sldMk cId="2498661594" sldId="946"/>
            <ac:spMk id="6" creationId="{E0C08C3F-9268-E695-6F94-E9C8E7BD9E76}"/>
          </ac:spMkLst>
        </pc:spChg>
        <pc:spChg chg="mod">
          <ac:chgData name="Vita Rexhepi" userId="465ca860-f783-42b0-8ee2-de8a28a6736a" providerId="ADAL" clId="{FB8D0779-37F9-4F25-962D-EB9C632AAAC9}" dt="2023-10-31T09:25:10.265" v="830" actId="255"/>
          <ac:spMkLst>
            <pc:docMk/>
            <pc:sldMk cId="2498661594" sldId="946"/>
            <ac:spMk id="7" creationId="{2F5108CB-3C95-DC48-770C-F17BBDC7538E}"/>
          </ac:spMkLst>
        </pc:spChg>
        <pc:spChg chg="mod">
          <ac:chgData name="Vita Rexhepi" userId="465ca860-f783-42b0-8ee2-de8a28a6736a" providerId="ADAL" clId="{FB8D0779-37F9-4F25-962D-EB9C632AAAC9}" dt="2023-10-31T09:25:10.265" v="830" actId="255"/>
          <ac:spMkLst>
            <pc:docMk/>
            <pc:sldMk cId="2498661594" sldId="946"/>
            <ac:spMk id="8" creationId="{8BA56B19-01D6-123A-EC23-606D61AE976A}"/>
          </ac:spMkLst>
        </pc:spChg>
      </pc:sldChg>
      <pc:sldChg chg="modSp mod modAnim">
        <pc:chgData name="Vita Rexhepi" userId="465ca860-f783-42b0-8ee2-de8a28a6736a" providerId="ADAL" clId="{FB8D0779-37F9-4F25-962D-EB9C632AAAC9}" dt="2023-10-31T09:26:46.292" v="848"/>
        <pc:sldMkLst>
          <pc:docMk/>
          <pc:sldMk cId="3833774867" sldId="947"/>
        </pc:sldMkLst>
        <pc:spChg chg="mod">
          <ac:chgData name="Vita Rexhepi" userId="465ca860-f783-42b0-8ee2-de8a28a6736a" providerId="ADAL" clId="{FB8D0779-37F9-4F25-962D-EB9C632AAAC9}" dt="2023-10-31T09:23:49.759" v="801" actId="255"/>
          <ac:spMkLst>
            <pc:docMk/>
            <pc:sldMk cId="3833774867" sldId="947"/>
            <ac:spMk id="9" creationId="{1A97DF1B-4D19-0502-10E0-F0D5B2314589}"/>
          </ac:spMkLst>
        </pc:spChg>
        <pc:spChg chg="mod">
          <ac:chgData name="Vita Rexhepi" userId="465ca860-f783-42b0-8ee2-de8a28a6736a" providerId="ADAL" clId="{FB8D0779-37F9-4F25-962D-EB9C632AAAC9}" dt="2023-10-31T09:23:55.182" v="802" actId="255"/>
          <ac:spMkLst>
            <pc:docMk/>
            <pc:sldMk cId="3833774867" sldId="947"/>
            <ac:spMk id="10" creationId="{929AC488-5FB9-DB2C-848D-47970C26014F}"/>
          </ac:spMkLst>
        </pc:spChg>
        <pc:spChg chg="mod">
          <ac:chgData name="Vita Rexhepi" userId="465ca860-f783-42b0-8ee2-de8a28a6736a" providerId="ADAL" clId="{FB8D0779-37F9-4F25-962D-EB9C632AAAC9}" dt="2023-10-31T09:24:23.904" v="807" actId="255"/>
          <ac:spMkLst>
            <pc:docMk/>
            <pc:sldMk cId="3833774867" sldId="947"/>
            <ac:spMk id="11" creationId="{54217B08-8496-3801-DB16-43E71F939C10}"/>
          </ac:spMkLst>
        </pc:spChg>
        <pc:spChg chg="mod">
          <ac:chgData name="Vita Rexhepi" userId="465ca860-f783-42b0-8ee2-de8a28a6736a" providerId="ADAL" clId="{FB8D0779-37F9-4F25-962D-EB9C632AAAC9}" dt="2023-10-31T09:24:06.416" v="804" actId="255"/>
          <ac:spMkLst>
            <pc:docMk/>
            <pc:sldMk cId="3833774867" sldId="947"/>
            <ac:spMk id="12" creationId="{7014E999-9318-55B1-D59E-230AEDA12A9F}"/>
          </ac:spMkLst>
        </pc:spChg>
        <pc:spChg chg="mod">
          <ac:chgData name="Vita Rexhepi" userId="465ca860-f783-42b0-8ee2-de8a28a6736a" providerId="ADAL" clId="{FB8D0779-37F9-4F25-962D-EB9C632AAAC9}" dt="2023-10-31T09:24:35.017" v="809" actId="255"/>
          <ac:spMkLst>
            <pc:docMk/>
            <pc:sldMk cId="3833774867" sldId="947"/>
            <ac:spMk id="13" creationId="{E943B29D-1497-1C23-A000-1FDC9BFDB8F4}"/>
          </ac:spMkLst>
        </pc:spChg>
        <pc:spChg chg="mod">
          <ac:chgData name="Vita Rexhepi" userId="465ca860-f783-42b0-8ee2-de8a28a6736a" providerId="ADAL" clId="{FB8D0779-37F9-4F25-962D-EB9C632AAAC9}" dt="2023-10-31T09:24:16.908" v="806" actId="255"/>
          <ac:spMkLst>
            <pc:docMk/>
            <pc:sldMk cId="3833774867" sldId="947"/>
            <ac:spMk id="14" creationId="{48E9AFC4-06EC-584F-BC85-BA3C97F9C961}"/>
          </ac:spMkLst>
        </pc:spChg>
        <pc:spChg chg="mod">
          <ac:chgData name="Vita Rexhepi" userId="465ca860-f783-42b0-8ee2-de8a28a6736a" providerId="ADAL" clId="{FB8D0779-37F9-4F25-962D-EB9C632AAAC9}" dt="2023-10-31T09:24:11.517" v="805" actId="255"/>
          <ac:spMkLst>
            <pc:docMk/>
            <pc:sldMk cId="3833774867" sldId="947"/>
            <ac:spMk id="15" creationId="{49A67487-8AC6-41D6-0744-2A7CA4BF6CFB}"/>
          </ac:spMkLst>
        </pc:spChg>
        <pc:cxnChg chg="mod">
          <ac:chgData name="Vita Rexhepi" userId="465ca860-f783-42b0-8ee2-de8a28a6736a" providerId="ADAL" clId="{FB8D0779-37F9-4F25-962D-EB9C632AAAC9}" dt="2023-10-31T09:24:56.694" v="829" actId="1036"/>
          <ac:cxnSpMkLst>
            <pc:docMk/>
            <pc:sldMk cId="3833774867" sldId="947"/>
            <ac:cxnSpMk id="5" creationId="{1E96B733-4318-3E19-6B9B-3932E7854B23}"/>
          </ac:cxnSpMkLst>
        </pc:cxnChg>
        <pc:cxnChg chg="mod">
          <ac:chgData name="Vita Rexhepi" userId="465ca860-f783-42b0-8ee2-de8a28a6736a" providerId="ADAL" clId="{FB8D0779-37F9-4F25-962D-EB9C632AAAC9}" dt="2023-10-31T09:24:56.694" v="829" actId="1036"/>
          <ac:cxnSpMkLst>
            <pc:docMk/>
            <pc:sldMk cId="3833774867" sldId="947"/>
            <ac:cxnSpMk id="7" creationId="{0A3B30EC-4C41-1222-E1AB-BCA234B47708}"/>
          </ac:cxnSpMkLst>
        </pc:cxnChg>
      </pc:sldChg>
      <pc:sldChg chg="modSp mod modAnim">
        <pc:chgData name="Vita Rexhepi" userId="465ca860-f783-42b0-8ee2-de8a28a6736a" providerId="ADAL" clId="{FB8D0779-37F9-4F25-962D-EB9C632AAAC9}" dt="2023-10-31T09:21:21.656" v="799"/>
        <pc:sldMkLst>
          <pc:docMk/>
          <pc:sldMk cId="2921867491" sldId="948"/>
        </pc:sldMkLst>
        <pc:spChg chg="mod">
          <ac:chgData name="Vita Rexhepi" userId="465ca860-f783-42b0-8ee2-de8a28a6736a" providerId="ADAL" clId="{FB8D0779-37F9-4F25-962D-EB9C632AAAC9}" dt="2023-10-30T14:37:53.132" v="303" actId="20577"/>
          <ac:spMkLst>
            <pc:docMk/>
            <pc:sldMk cId="2921867491" sldId="948"/>
            <ac:spMk id="3" creationId="{90C6029E-1C02-E771-DD4D-28089D21FFAB}"/>
          </ac:spMkLst>
        </pc:spChg>
      </pc:sldChg>
      <pc:sldChg chg="modSp mod">
        <pc:chgData name="Vita Rexhepi" userId="465ca860-f783-42b0-8ee2-de8a28a6736a" providerId="ADAL" clId="{FB8D0779-37F9-4F25-962D-EB9C632AAAC9}" dt="2023-10-30T14:29:41.632" v="195" actId="1035"/>
        <pc:sldMkLst>
          <pc:docMk/>
          <pc:sldMk cId="1855730906" sldId="949"/>
        </pc:sldMkLst>
        <pc:spChg chg="mod">
          <ac:chgData name="Vita Rexhepi" userId="465ca860-f783-42b0-8ee2-de8a28a6736a" providerId="ADAL" clId="{FB8D0779-37F9-4F25-962D-EB9C632AAAC9}" dt="2023-10-30T14:29:41.632" v="195" actId="1035"/>
          <ac:spMkLst>
            <pc:docMk/>
            <pc:sldMk cId="1855730906" sldId="949"/>
            <ac:spMk id="5" creationId="{D25173A6-F5A3-C933-AFFA-E8D0AC10A0A1}"/>
          </ac:spMkLst>
        </pc:spChg>
        <pc:spChg chg="mod">
          <ac:chgData name="Vita Rexhepi" userId="465ca860-f783-42b0-8ee2-de8a28a6736a" providerId="ADAL" clId="{FB8D0779-37F9-4F25-962D-EB9C632AAAC9}" dt="2023-10-30T14:27:18.186" v="150" actId="20577"/>
          <ac:spMkLst>
            <pc:docMk/>
            <pc:sldMk cId="1855730906" sldId="949"/>
            <ac:spMk id="6" creationId="{63D69B61-83FE-C70A-B572-C232C6129B20}"/>
          </ac:spMkLst>
        </pc:spChg>
      </pc:sldChg>
    </pc:docChg>
  </pc:docChgLst>
  <pc:docChgLst>
    <pc:chgData name="Mjellma Rukovci" userId="1cef33ed-d906-40ea-a6ff-b70dfef07c29" providerId="ADAL" clId="{06398490-1144-4A44-AAFC-12607314F3C5}"/>
    <pc:docChg chg="undo custSel modSld">
      <pc:chgData name="Mjellma Rukovci" userId="1cef33ed-d906-40ea-a6ff-b70dfef07c29" providerId="ADAL" clId="{06398490-1144-4A44-AAFC-12607314F3C5}" dt="2023-06-07T08:30:23.898" v="23" actId="20577"/>
      <pc:docMkLst>
        <pc:docMk/>
      </pc:docMkLst>
      <pc:sldChg chg="modSp mod modNotesTx">
        <pc:chgData name="Mjellma Rukovci" userId="1cef33ed-d906-40ea-a6ff-b70dfef07c29" providerId="ADAL" clId="{06398490-1144-4A44-AAFC-12607314F3C5}" dt="2023-06-07T08:30:23.898" v="23" actId="20577"/>
        <pc:sldMkLst>
          <pc:docMk/>
          <pc:sldMk cId="1913331388" sldId="258"/>
        </pc:sldMkLst>
        <pc:spChg chg="mod">
          <ac:chgData name="Mjellma Rukovci" userId="1cef33ed-d906-40ea-a6ff-b70dfef07c29" providerId="ADAL" clId="{06398490-1144-4A44-AAFC-12607314F3C5}" dt="2023-06-07T08:29:47.559" v="1" actId="20577"/>
          <ac:spMkLst>
            <pc:docMk/>
            <pc:sldMk cId="1913331388" sldId="258"/>
            <ac:spMk id="15" creationId="{1AF14D7D-3A38-47CB-9165-3CD046DF94B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EA76FB-9763-4FFE-B6A1-5C57A0CA0AE3}" type="datetimeFigureOut">
              <a:rPr lang="en-ID" smtClean="0"/>
              <a:t>31/10/2023</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4ED5D0-F2FB-4B3D-A0F0-7D2454080F06}" type="slidenum">
              <a:rPr lang="en-ID" smtClean="0"/>
              <a:t>‹#›</a:t>
            </a:fld>
            <a:endParaRPr lang="en-ID"/>
          </a:p>
        </p:txBody>
      </p:sp>
    </p:spTree>
    <p:extLst>
      <p:ext uri="{BB962C8B-B14F-4D97-AF65-F5344CB8AC3E}">
        <p14:creationId xmlns:p14="http://schemas.microsoft.com/office/powerpoint/2010/main" val="33614679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ertificationSSSSSSS</a:t>
            </a:r>
          </a:p>
        </p:txBody>
      </p:sp>
      <p:sp>
        <p:nvSpPr>
          <p:cNvPr id="4" name="Slide Number Placeholder 3"/>
          <p:cNvSpPr>
            <a:spLocks noGrp="1"/>
          </p:cNvSpPr>
          <p:nvPr>
            <p:ph type="sldNum" sz="quarter" idx="5"/>
          </p:nvPr>
        </p:nvSpPr>
        <p:spPr/>
        <p:txBody>
          <a:bodyPr/>
          <a:lstStyle/>
          <a:p>
            <a:fld id="{BE4ED5D0-F2FB-4B3D-A0F0-7D2454080F06}" type="slidenum">
              <a:rPr lang="en-ID" smtClean="0"/>
              <a:t>2</a:t>
            </a:fld>
            <a:endParaRPr lang="en-ID"/>
          </a:p>
        </p:txBody>
      </p:sp>
    </p:spTree>
    <p:extLst>
      <p:ext uri="{BB962C8B-B14F-4D97-AF65-F5344CB8AC3E}">
        <p14:creationId xmlns:p14="http://schemas.microsoft.com/office/powerpoint/2010/main" val="2212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4ED5D0-F2FB-4B3D-A0F0-7D2454080F06}" type="slidenum">
              <a:rPr lang="en-ID" smtClean="0"/>
              <a:t>24</a:t>
            </a:fld>
            <a:endParaRPr lang="en-ID"/>
          </a:p>
        </p:txBody>
      </p:sp>
    </p:spTree>
    <p:extLst>
      <p:ext uri="{BB962C8B-B14F-4D97-AF65-F5344CB8AC3E}">
        <p14:creationId xmlns:p14="http://schemas.microsoft.com/office/powerpoint/2010/main" val="667148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BE4ED5D0-F2FB-4B3D-A0F0-7D2454080F06}" type="slidenum">
              <a:rPr lang="en-ID" smtClean="0"/>
              <a:t>30</a:t>
            </a:fld>
            <a:endParaRPr lang="en-ID"/>
          </a:p>
        </p:txBody>
      </p:sp>
    </p:spTree>
    <p:extLst>
      <p:ext uri="{BB962C8B-B14F-4D97-AF65-F5344CB8AC3E}">
        <p14:creationId xmlns:p14="http://schemas.microsoft.com/office/powerpoint/2010/main" val="2845764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BE4ED5D0-F2FB-4B3D-A0F0-7D2454080F06}" type="slidenum">
              <a:rPr lang="en-ID" smtClean="0"/>
              <a:t>5</a:t>
            </a:fld>
            <a:endParaRPr lang="en-ID"/>
          </a:p>
        </p:txBody>
      </p:sp>
    </p:spTree>
    <p:extLst>
      <p:ext uri="{BB962C8B-B14F-4D97-AF65-F5344CB8AC3E}">
        <p14:creationId xmlns:p14="http://schemas.microsoft.com/office/powerpoint/2010/main" val="4097550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234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618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871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762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262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ED5D0-F2FB-4B3D-A0F0-7D2454080F06}" type="slidenum">
              <a:rPr kumimoji="0" lang="en-ID"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D"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2226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4ED5D0-F2FB-4B3D-A0F0-7D2454080F06}" type="slidenum">
              <a:rPr lang="en-ID" smtClean="0"/>
              <a:t>18</a:t>
            </a:fld>
            <a:endParaRPr lang="en-ID"/>
          </a:p>
        </p:txBody>
      </p:sp>
    </p:spTree>
    <p:extLst>
      <p:ext uri="{BB962C8B-B14F-4D97-AF65-F5344CB8AC3E}">
        <p14:creationId xmlns:p14="http://schemas.microsoft.com/office/powerpoint/2010/main" val="280825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1FE2E22-07BC-4C6E-B341-5D151DEB518F}"/>
              </a:ext>
            </a:extLst>
          </p:cNvPr>
          <p:cNvSpPr>
            <a:spLocks noGrp="1"/>
          </p:cNvSpPr>
          <p:nvPr>
            <p:ph type="pic" sz="quarter" idx="10"/>
          </p:nvPr>
        </p:nvSpPr>
        <p:spPr>
          <a:xfrm>
            <a:off x="876300" y="838199"/>
            <a:ext cx="4362450" cy="6019800"/>
          </a:xfrm>
          <a:custGeom>
            <a:avLst/>
            <a:gdLst>
              <a:gd name="connsiteX0" fmla="*/ 0 w 4362450"/>
              <a:gd name="connsiteY0" fmla="*/ 0 h 6019800"/>
              <a:gd name="connsiteX1" fmla="*/ 4362450 w 4362450"/>
              <a:gd name="connsiteY1" fmla="*/ 0 h 6019800"/>
              <a:gd name="connsiteX2" fmla="*/ 4362450 w 4362450"/>
              <a:gd name="connsiteY2" fmla="*/ 6019800 h 6019800"/>
              <a:gd name="connsiteX3" fmla="*/ 0 w 4362450"/>
              <a:gd name="connsiteY3" fmla="*/ 6019800 h 6019800"/>
            </a:gdLst>
            <a:ahLst/>
            <a:cxnLst>
              <a:cxn ang="0">
                <a:pos x="connsiteX0" y="connsiteY0"/>
              </a:cxn>
              <a:cxn ang="0">
                <a:pos x="connsiteX1" y="connsiteY1"/>
              </a:cxn>
              <a:cxn ang="0">
                <a:pos x="connsiteX2" y="connsiteY2"/>
              </a:cxn>
              <a:cxn ang="0">
                <a:pos x="connsiteX3" y="connsiteY3"/>
              </a:cxn>
            </a:cxnLst>
            <a:rect l="l" t="t" r="r" b="b"/>
            <a:pathLst>
              <a:path w="4362450" h="6019800">
                <a:moveTo>
                  <a:pt x="0" y="0"/>
                </a:moveTo>
                <a:lnTo>
                  <a:pt x="4362450" y="0"/>
                </a:lnTo>
                <a:lnTo>
                  <a:pt x="4362450" y="6019800"/>
                </a:lnTo>
                <a:lnTo>
                  <a:pt x="0" y="60198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477180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E73D390-2FC6-4436-88C5-6974E8E68963}"/>
              </a:ext>
            </a:extLst>
          </p:cNvPr>
          <p:cNvSpPr>
            <a:spLocks noGrp="1"/>
          </p:cNvSpPr>
          <p:nvPr>
            <p:ph type="pic" sz="quarter" idx="10"/>
          </p:nvPr>
        </p:nvSpPr>
        <p:spPr>
          <a:xfrm>
            <a:off x="0" y="-1"/>
            <a:ext cx="5219700" cy="3429000"/>
          </a:xfrm>
          <a:custGeom>
            <a:avLst/>
            <a:gdLst>
              <a:gd name="connsiteX0" fmla="*/ 0 w 5219700"/>
              <a:gd name="connsiteY0" fmla="*/ 0 h 3429000"/>
              <a:gd name="connsiteX1" fmla="*/ 5219700 w 5219700"/>
              <a:gd name="connsiteY1" fmla="*/ 0 h 3429000"/>
              <a:gd name="connsiteX2" fmla="*/ 5219700 w 5219700"/>
              <a:gd name="connsiteY2" fmla="*/ 3429000 h 3429000"/>
              <a:gd name="connsiteX3" fmla="*/ 0 w 52197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5219700" h="3429000">
                <a:moveTo>
                  <a:pt x="0" y="0"/>
                </a:moveTo>
                <a:lnTo>
                  <a:pt x="5219700" y="0"/>
                </a:lnTo>
                <a:lnTo>
                  <a:pt x="5219700" y="3429000"/>
                </a:lnTo>
                <a:lnTo>
                  <a:pt x="0" y="3429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077333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85F9E6-3FD4-473B-AA5F-C4907758091A}"/>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Picture Placeholder 7">
            <a:extLst>
              <a:ext uri="{FF2B5EF4-FFF2-40B4-BE49-F238E27FC236}">
                <a16:creationId xmlns:a16="http://schemas.microsoft.com/office/drawing/2014/main" id="{BE633E97-B441-44F8-8A8B-59201D91788A}"/>
              </a:ext>
            </a:extLst>
          </p:cNvPr>
          <p:cNvSpPr>
            <a:spLocks noGrp="1"/>
          </p:cNvSpPr>
          <p:nvPr>
            <p:ph type="pic" sz="quarter" idx="10"/>
          </p:nvPr>
        </p:nvSpPr>
        <p:spPr>
          <a:xfrm>
            <a:off x="1633538" y="2674527"/>
            <a:ext cx="1885950" cy="1885950"/>
          </a:xfrm>
          <a:custGeom>
            <a:avLst/>
            <a:gdLst>
              <a:gd name="connsiteX0" fmla="*/ 942975 w 1885950"/>
              <a:gd name="connsiteY0" fmla="*/ 0 h 1885950"/>
              <a:gd name="connsiteX1" fmla="*/ 1885950 w 1885950"/>
              <a:gd name="connsiteY1" fmla="*/ 942975 h 1885950"/>
              <a:gd name="connsiteX2" fmla="*/ 942975 w 1885950"/>
              <a:gd name="connsiteY2" fmla="*/ 1885950 h 1885950"/>
              <a:gd name="connsiteX3" fmla="*/ 0 w 1885950"/>
              <a:gd name="connsiteY3" fmla="*/ 942975 h 1885950"/>
              <a:gd name="connsiteX4" fmla="*/ 942975 w 1885950"/>
              <a:gd name="connsiteY4" fmla="*/ 0 h 188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5950" h="1885950">
                <a:moveTo>
                  <a:pt x="942975" y="0"/>
                </a:moveTo>
                <a:cubicBezTo>
                  <a:pt x="1463766" y="0"/>
                  <a:pt x="1885950" y="422184"/>
                  <a:pt x="1885950" y="942975"/>
                </a:cubicBezTo>
                <a:cubicBezTo>
                  <a:pt x="1885950" y="1463766"/>
                  <a:pt x="1463766" y="1885950"/>
                  <a:pt x="942975" y="1885950"/>
                </a:cubicBezTo>
                <a:cubicBezTo>
                  <a:pt x="422184" y="1885950"/>
                  <a:pt x="0" y="1463766"/>
                  <a:pt x="0" y="942975"/>
                </a:cubicBezTo>
                <a:cubicBezTo>
                  <a:pt x="0" y="422184"/>
                  <a:pt x="422184" y="0"/>
                  <a:pt x="942975" y="0"/>
                </a:cubicBezTo>
                <a:close/>
              </a:path>
            </a:pathLst>
          </a:custGeom>
          <a:solidFill>
            <a:schemeClr val="bg1">
              <a:lumMod val="65000"/>
            </a:schemeClr>
          </a:solidFill>
        </p:spPr>
        <p:txBody>
          <a:bodyPr wrap="square">
            <a:noAutofit/>
          </a:bodyPr>
          <a:lstStyle/>
          <a:p>
            <a:endParaRPr lang="en-US"/>
          </a:p>
        </p:txBody>
      </p:sp>
      <p:sp>
        <p:nvSpPr>
          <p:cNvPr id="11" name="Picture Placeholder 10">
            <a:extLst>
              <a:ext uri="{FF2B5EF4-FFF2-40B4-BE49-F238E27FC236}">
                <a16:creationId xmlns:a16="http://schemas.microsoft.com/office/drawing/2014/main" id="{09271314-9B71-4173-8901-942CA9F0C5DA}"/>
              </a:ext>
            </a:extLst>
          </p:cNvPr>
          <p:cNvSpPr>
            <a:spLocks noGrp="1"/>
          </p:cNvSpPr>
          <p:nvPr>
            <p:ph type="pic" sz="quarter" idx="11"/>
          </p:nvPr>
        </p:nvSpPr>
        <p:spPr>
          <a:xfrm>
            <a:off x="4819649" y="2341151"/>
            <a:ext cx="2552700" cy="2552700"/>
          </a:xfrm>
          <a:custGeom>
            <a:avLst/>
            <a:gdLst>
              <a:gd name="connsiteX0" fmla="*/ 1276350 w 2552700"/>
              <a:gd name="connsiteY0" fmla="*/ 0 h 2552700"/>
              <a:gd name="connsiteX1" fmla="*/ 2552700 w 2552700"/>
              <a:gd name="connsiteY1" fmla="*/ 1276350 h 2552700"/>
              <a:gd name="connsiteX2" fmla="*/ 1276350 w 2552700"/>
              <a:gd name="connsiteY2" fmla="*/ 2552700 h 2552700"/>
              <a:gd name="connsiteX3" fmla="*/ 0 w 2552700"/>
              <a:gd name="connsiteY3" fmla="*/ 1276350 h 2552700"/>
              <a:gd name="connsiteX4" fmla="*/ 1276350 w 2552700"/>
              <a:gd name="connsiteY4" fmla="*/ 0 h 255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700" h="2552700">
                <a:moveTo>
                  <a:pt x="1276350" y="0"/>
                </a:moveTo>
                <a:cubicBezTo>
                  <a:pt x="1981259" y="0"/>
                  <a:pt x="2552700" y="571441"/>
                  <a:pt x="2552700" y="1276350"/>
                </a:cubicBezTo>
                <a:cubicBezTo>
                  <a:pt x="2552700" y="1981259"/>
                  <a:pt x="1981259" y="2552700"/>
                  <a:pt x="1276350" y="2552700"/>
                </a:cubicBezTo>
                <a:cubicBezTo>
                  <a:pt x="571441" y="2552700"/>
                  <a:pt x="0" y="1981259"/>
                  <a:pt x="0" y="1276350"/>
                </a:cubicBezTo>
                <a:cubicBezTo>
                  <a:pt x="0" y="571441"/>
                  <a:pt x="571441" y="0"/>
                  <a:pt x="1276350" y="0"/>
                </a:cubicBezTo>
                <a:close/>
              </a:path>
            </a:pathLst>
          </a:custGeom>
          <a:solidFill>
            <a:schemeClr val="bg1">
              <a:lumMod val="65000"/>
            </a:schemeClr>
          </a:solidFill>
        </p:spPr>
        <p:txBody>
          <a:bodyPr wrap="square">
            <a:noAutofit/>
          </a:bodyPr>
          <a:lstStyle/>
          <a:p>
            <a:endParaRPr lang="en-US"/>
          </a:p>
        </p:txBody>
      </p:sp>
      <p:sp>
        <p:nvSpPr>
          <p:cNvPr id="14" name="Picture Placeholder 13">
            <a:extLst>
              <a:ext uri="{FF2B5EF4-FFF2-40B4-BE49-F238E27FC236}">
                <a16:creationId xmlns:a16="http://schemas.microsoft.com/office/drawing/2014/main" id="{406EE5A0-98AB-420B-83A1-DFEEA1CB2962}"/>
              </a:ext>
            </a:extLst>
          </p:cNvPr>
          <p:cNvSpPr>
            <a:spLocks noGrp="1"/>
          </p:cNvSpPr>
          <p:nvPr>
            <p:ph type="pic" sz="quarter" idx="12"/>
          </p:nvPr>
        </p:nvSpPr>
        <p:spPr>
          <a:xfrm>
            <a:off x="8672511" y="2674527"/>
            <a:ext cx="1885950" cy="1885950"/>
          </a:xfrm>
          <a:custGeom>
            <a:avLst/>
            <a:gdLst>
              <a:gd name="connsiteX0" fmla="*/ 942975 w 1885950"/>
              <a:gd name="connsiteY0" fmla="*/ 0 h 1885950"/>
              <a:gd name="connsiteX1" fmla="*/ 1885950 w 1885950"/>
              <a:gd name="connsiteY1" fmla="*/ 942975 h 1885950"/>
              <a:gd name="connsiteX2" fmla="*/ 942975 w 1885950"/>
              <a:gd name="connsiteY2" fmla="*/ 1885950 h 1885950"/>
              <a:gd name="connsiteX3" fmla="*/ 0 w 1885950"/>
              <a:gd name="connsiteY3" fmla="*/ 942975 h 1885950"/>
              <a:gd name="connsiteX4" fmla="*/ 942975 w 1885950"/>
              <a:gd name="connsiteY4" fmla="*/ 0 h 1885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5950" h="1885950">
                <a:moveTo>
                  <a:pt x="942975" y="0"/>
                </a:moveTo>
                <a:cubicBezTo>
                  <a:pt x="1463766" y="0"/>
                  <a:pt x="1885950" y="422184"/>
                  <a:pt x="1885950" y="942975"/>
                </a:cubicBezTo>
                <a:cubicBezTo>
                  <a:pt x="1885950" y="1463766"/>
                  <a:pt x="1463766" y="1885950"/>
                  <a:pt x="942975" y="1885950"/>
                </a:cubicBezTo>
                <a:cubicBezTo>
                  <a:pt x="422184" y="1885950"/>
                  <a:pt x="0" y="1463766"/>
                  <a:pt x="0" y="942975"/>
                </a:cubicBezTo>
                <a:cubicBezTo>
                  <a:pt x="0" y="422184"/>
                  <a:pt x="422184" y="0"/>
                  <a:pt x="942975" y="0"/>
                </a:cubicBez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150028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1319779-EF54-4385-887B-7FFA3CAEABCF}"/>
              </a:ext>
            </a:extLst>
          </p:cNvPr>
          <p:cNvSpPr>
            <a:spLocks noGrp="1"/>
          </p:cNvSpPr>
          <p:nvPr>
            <p:ph type="pic" sz="quarter" idx="10"/>
          </p:nvPr>
        </p:nvSpPr>
        <p:spPr>
          <a:xfrm>
            <a:off x="857249" y="-1"/>
            <a:ext cx="3505200" cy="6115050"/>
          </a:xfrm>
          <a:custGeom>
            <a:avLst/>
            <a:gdLst>
              <a:gd name="connsiteX0" fmla="*/ 0 w 3505200"/>
              <a:gd name="connsiteY0" fmla="*/ 0 h 6115050"/>
              <a:gd name="connsiteX1" fmla="*/ 3505200 w 3505200"/>
              <a:gd name="connsiteY1" fmla="*/ 0 h 6115050"/>
              <a:gd name="connsiteX2" fmla="*/ 3505200 w 3505200"/>
              <a:gd name="connsiteY2" fmla="*/ 6115050 h 6115050"/>
              <a:gd name="connsiteX3" fmla="*/ 0 w 3505200"/>
              <a:gd name="connsiteY3" fmla="*/ 6115050 h 6115050"/>
            </a:gdLst>
            <a:ahLst/>
            <a:cxnLst>
              <a:cxn ang="0">
                <a:pos x="connsiteX0" y="connsiteY0"/>
              </a:cxn>
              <a:cxn ang="0">
                <a:pos x="connsiteX1" y="connsiteY1"/>
              </a:cxn>
              <a:cxn ang="0">
                <a:pos x="connsiteX2" y="connsiteY2"/>
              </a:cxn>
              <a:cxn ang="0">
                <a:pos x="connsiteX3" y="connsiteY3"/>
              </a:cxn>
            </a:cxnLst>
            <a:rect l="l" t="t" r="r" b="b"/>
            <a:pathLst>
              <a:path w="3505200" h="6115050">
                <a:moveTo>
                  <a:pt x="0" y="0"/>
                </a:moveTo>
                <a:lnTo>
                  <a:pt x="3505200" y="0"/>
                </a:lnTo>
                <a:lnTo>
                  <a:pt x="3505200" y="6115050"/>
                </a:lnTo>
                <a:lnTo>
                  <a:pt x="0" y="61150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520317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87AC00-7B3E-410D-ACB5-334ABA862712}"/>
              </a:ext>
            </a:extLst>
          </p:cNvPr>
          <p:cNvSpPr/>
          <p:nvPr userDrawn="1"/>
        </p:nvSpPr>
        <p:spPr>
          <a:xfrm>
            <a:off x="9563100" y="0"/>
            <a:ext cx="26289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B258686B-BA1E-4542-A186-D583CF758D2F}"/>
              </a:ext>
            </a:extLst>
          </p:cNvPr>
          <p:cNvSpPr>
            <a:spLocks noGrp="1"/>
          </p:cNvSpPr>
          <p:nvPr>
            <p:ph type="pic" sz="quarter" idx="10"/>
          </p:nvPr>
        </p:nvSpPr>
        <p:spPr>
          <a:xfrm>
            <a:off x="6077504" y="0"/>
            <a:ext cx="5318771" cy="6858000"/>
          </a:xfrm>
          <a:custGeom>
            <a:avLst/>
            <a:gdLst>
              <a:gd name="connsiteX0" fmla="*/ 1560994 w 5318771"/>
              <a:gd name="connsiteY0" fmla="*/ 0 h 6858000"/>
              <a:gd name="connsiteX1" fmla="*/ 5318771 w 5318771"/>
              <a:gd name="connsiteY1" fmla="*/ 0 h 6858000"/>
              <a:gd name="connsiteX2" fmla="*/ 3757777 w 5318771"/>
              <a:gd name="connsiteY2" fmla="*/ 6858000 h 6858000"/>
              <a:gd name="connsiteX3" fmla="*/ 0 w 531877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318771" h="6858000">
                <a:moveTo>
                  <a:pt x="1560994" y="0"/>
                </a:moveTo>
                <a:lnTo>
                  <a:pt x="5318771" y="0"/>
                </a:lnTo>
                <a:lnTo>
                  <a:pt x="3757777" y="6858000"/>
                </a:lnTo>
                <a:lnTo>
                  <a:pt x="0" y="6858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917593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6FD204-B192-4E64-BDE9-207622405B16}"/>
              </a:ext>
            </a:extLst>
          </p:cNvPr>
          <p:cNvSpPr/>
          <p:nvPr userDrawn="1"/>
        </p:nvSpPr>
        <p:spPr>
          <a:xfrm>
            <a:off x="0" y="0"/>
            <a:ext cx="52768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18BF37DD-AFEB-4194-8123-95B2BA56A569}"/>
              </a:ext>
            </a:extLst>
          </p:cNvPr>
          <p:cNvSpPr>
            <a:spLocks noGrp="1"/>
          </p:cNvSpPr>
          <p:nvPr>
            <p:ph type="pic" sz="quarter" idx="10"/>
          </p:nvPr>
        </p:nvSpPr>
        <p:spPr>
          <a:xfrm>
            <a:off x="876299" y="819150"/>
            <a:ext cx="3467100" cy="5238750"/>
          </a:xfrm>
          <a:custGeom>
            <a:avLst/>
            <a:gdLst>
              <a:gd name="connsiteX0" fmla="*/ 0 w 3467100"/>
              <a:gd name="connsiteY0" fmla="*/ 0 h 5238750"/>
              <a:gd name="connsiteX1" fmla="*/ 3467100 w 3467100"/>
              <a:gd name="connsiteY1" fmla="*/ 0 h 5238750"/>
              <a:gd name="connsiteX2" fmla="*/ 3467100 w 3467100"/>
              <a:gd name="connsiteY2" fmla="*/ 5238750 h 5238750"/>
              <a:gd name="connsiteX3" fmla="*/ 0 w 3467100"/>
              <a:gd name="connsiteY3" fmla="*/ 5238750 h 5238750"/>
            </a:gdLst>
            <a:ahLst/>
            <a:cxnLst>
              <a:cxn ang="0">
                <a:pos x="connsiteX0" y="connsiteY0"/>
              </a:cxn>
              <a:cxn ang="0">
                <a:pos x="connsiteX1" y="connsiteY1"/>
              </a:cxn>
              <a:cxn ang="0">
                <a:pos x="connsiteX2" y="connsiteY2"/>
              </a:cxn>
              <a:cxn ang="0">
                <a:pos x="connsiteX3" y="connsiteY3"/>
              </a:cxn>
            </a:cxnLst>
            <a:rect l="l" t="t" r="r" b="b"/>
            <a:pathLst>
              <a:path w="3467100" h="5238750">
                <a:moveTo>
                  <a:pt x="0" y="0"/>
                </a:moveTo>
                <a:lnTo>
                  <a:pt x="3467100" y="0"/>
                </a:lnTo>
                <a:lnTo>
                  <a:pt x="3467100" y="5238750"/>
                </a:lnTo>
                <a:lnTo>
                  <a:pt x="0" y="52387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745754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82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15593E-F213-4912-BE45-215AC89862EC}"/>
              </a:ext>
            </a:extLst>
          </p:cNvPr>
          <p:cNvSpPr>
            <a:spLocks noGrp="1"/>
          </p:cNvSpPr>
          <p:nvPr>
            <p:ph type="pic" sz="quarter" idx="10"/>
          </p:nvPr>
        </p:nvSpPr>
        <p:spPr>
          <a:xfrm>
            <a:off x="0" y="0"/>
            <a:ext cx="2983149" cy="6096000"/>
          </a:xfrm>
          <a:custGeom>
            <a:avLst/>
            <a:gdLst>
              <a:gd name="connsiteX0" fmla="*/ 0 w 2983149"/>
              <a:gd name="connsiteY0" fmla="*/ 0 h 6096000"/>
              <a:gd name="connsiteX1" fmla="*/ 2983149 w 2983149"/>
              <a:gd name="connsiteY1" fmla="*/ 0 h 6096000"/>
              <a:gd name="connsiteX2" fmla="*/ 2983149 w 2983149"/>
              <a:gd name="connsiteY2" fmla="*/ 6096000 h 6096000"/>
              <a:gd name="connsiteX3" fmla="*/ 0 w 2983149"/>
              <a:gd name="connsiteY3" fmla="*/ 6096000 h 6096000"/>
            </a:gdLst>
            <a:ahLst/>
            <a:cxnLst>
              <a:cxn ang="0">
                <a:pos x="connsiteX0" y="connsiteY0"/>
              </a:cxn>
              <a:cxn ang="0">
                <a:pos x="connsiteX1" y="connsiteY1"/>
              </a:cxn>
              <a:cxn ang="0">
                <a:pos x="connsiteX2" y="connsiteY2"/>
              </a:cxn>
              <a:cxn ang="0">
                <a:pos x="connsiteX3" y="connsiteY3"/>
              </a:cxn>
            </a:cxnLst>
            <a:rect l="l" t="t" r="r" b="b"/>
            <a:pathLst>
              <a:path w="2983149" h="6096000">
                <a:moveTo>
                  <a:pt x="0" y="0"/>
                </a:moveTo>
                <a:lnTo>
                  <a:pt x="2983149" y="0"/>
                </a:lnTo>
                <a:lnTo>
                  <a:pt x="2983149" y="6096000"/>
                </a:lnTo>
                <a:lnTo>
                  <a:pt x="0" y="6096000"/>
                </a:lnTo>
                <a:close/>
              </a:path>
            </a:pathLst>
          </a:custGeom>
          <a:solidFill>
            <a:schemeClr val="bg1">
              <a:lumMod val="65000"/>
            </a:schemeClr>
          </a:solidFill>
        </p:spPr>
        <p:txBody>
          <a:bodyPr wrap="square">
            <a:noAutofit/>
          </a:bodyPr>
          <a:lstStyle/>
          <a:p>
            <a:endParaRPr lang="en-US"/>
          </a:p>
        </p:txBody>
      </p:sp>
      <p:sp>
        <p:nvSpPr>
          <p:cNvPr id="9" name="Picture Placeholder 8">
            <a:extLst>
              <a:ext uri="{FF2B5EF4-FFF2-40B4-BE49-F238E27FC236}">
                <a16:creationId xmlns:a16="http://schemas.microsoft.com/office/drawing/2014/main" id="{09F0547B-B3E5-456F-B4D6-A69E60EF957F}"/>
              </a:ext>
            </a:extLst>
          </p:cNvPr>
          <p:cNvSpPr>
            <a:spLocks noGrp="1"/>
          </p:cNvSpPr>
          <p:nvPr>
            <p:ph type="pic" sz="quarter" idx="11"/>
          </p:nvPr>
        </p:nvSpPr>
        <p:spPr>
          <a:xfrm>
            <a:off x="3131901" y="-1"/>
            <a:ext cx="2983149" cy="3429000"/>
          </a:xfrm>
          <a:custGeom>
            <a:avLst/>
            <a:gdLst>
              <a:gd name="connsiteX0" fmla="*/ 0 w 2983149"/>
              <a:gd name="connsiteY0" fmla="*/ 0 h 3429000"/>
              <a:gd name="connsiteX1" fmla="*/ 2983149 w 2983149"/>
              <a:gd name="connsiteY1" fmla="*/ 0 h 3429000"/>
              <a:gd name="connsiteX2" fmla="*/ 2983149 w 2983149"/>
              <a:gd name="connsiteY2" fmla="*/ 3429000 h 3429000"/>
              <a:gd name="connsiteX3" fmla="*/ 0 w 2983149"/>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2983149" h="3429000">
                <a:moveTo>
                  <a:pt x="0" y="0"/>
                </a:moveTo>
                <a:lnTo>
                  <a:pt x="2983149" y="0"/>
                </a:lnTo>
                <a:lnTo>
                  <a:pt x="2983149" y="3429000"/>
                </a:lnTo>
                <a:lnTo>
                  <a:pt x="0" y="3429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534546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37F00B4-FFBB-401A-B6E1-D83C114E1188}"/>
              </a:ext>
            </a:extLst>
          </p:cNvPr>
          <p:cNvSpPr>
            <a:spLocks noGrp="1"/>
          </p:cNvSpPr>
          <p:nvPr>
            <p:ph type="pic" sz="quarter" idx="10"/>
          </p:nvPr>
        </p:nvSpPr>
        <p:spPr>
          <a:xfrm>
            <a:off x="6953250" y="3429000"/>
            <a:ext cx="5238750" cy="3429000"/>
          </a:xfrm>
          <a:custGeom>
            <a:avLst/>
            <a:gdLst>
              <a:gd name="connsiteX0" fmla="*/ 0 w 5238750"/>
              <a:gd name="connsiteY0" fmla="*/ 0 h 3429000"/>
              <a:gd name="connsiteX1" fmla="*/ 5238750 w 5238750"/>
              <a:gd name="connsiteY1" fmla="*/ 0 h 3429000"/>
              <a:gd name="connsiteX2" fmla="*/ 5238750 w 5238750"/>
              <a:gd name="connsiteY2" fmla="*/ 3429000 h 3429000"/>
              <a:gd name="connsiteX3" fmla="*/ 0 w 523875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5238750" h="3429000">
                <a:moveTo>
                  <a:pt x="0" y="0"/>
                </a:moveTo>
                <a:lnTo>
                  <a:pt x="5238750" y="0"/>
                </a:lnTo>
                <a:lnTo>
                  <a:pt x="5238750" y="3429000"/>
                </a:lnTo>
                <a:lnTo>
                  <a:pt x="0" y="3429000"/>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2703969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2F46FE-956C-4DAA-A6D8-94F3AC94EE0F}"/>
              </a:ext>
            </a:extLst>
          </p:cNvPr>
          <p:cNvSpPr/>
          <p:nvPr userDrawn="1"/>
        </p:nvSpPr>
        <p:spPr>
          <a:xfrm>
            <a:off x="0" y="0"/>
            <a:ext cx="39243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Picture Placeholder 6">
            <a:extLst>
              <a:ext uri="{FF2B5EF4-FFF2-40B4-BE49-F238E27FC236}">
                <a16:creationId xmlns:a16="http://schemas.microsoft.com/office/drawing/2014/main" id="{C93CC999-F64F-4612-845F-68917D148A86}"/>
              </a:ext>
            </a:extLst>
          </p:cNvPr>
          <p:cNvSpPr>
            <a:spLocks noGrp="1"/>
          </p:cNvSpPr>
          <p:nvPr>
            <p:ph type="pic" sz="quarter" idx="10"/>
          </p:nvPr>
        </p:nvSpPr>
        <p:spPr>
          <a:xfrm>
            <a:off x="-1" y="762000"/>
            <a:ext cx="2546364" cy="5314950"/>
          </a:xfrm>
          <a:custGeom>
            <a:avLst/>
            <a:gdLst>
              <a:gd name="connsiteX0" fmla="*/ 0 w 2546364"/>
              <a:gd name="connsiteY0" fmla="*/ 0 h 5314950"/>
              <a:gd name="connsiteX1" fmla="*/ 2546364 w 2546364"/>
              <a:gd name="connsiteY1" fmla="*/ 0 h 5314950"/>
              <a:gd name="connsiteX2" fmla="*/ 2546364 w 2546364"/>
              <a:gd name="connsiteY2" fmla="*/ 5314950 h 5314950"/>
              <a:gd name="connsiteX3" fmla="*/ 0 w 2546364"/>
              <a:gd name="connsiteY3" fmla="*/ 5314950 h 5314950"/>
            </a:gdLst>
            <a:ahLst/>
            <a:cxnLst>
              <a:cxn ang="0">
                <a:pos x="connsiteX0" y="connsiteY0"/>
              </a:cxn>
              <a:cxn ang="0">
                <a:pos x="connsiteX1" y="connsiteY1"/>
              </a:cxn>
              <a:cxn ang="0">
                <a:pos x="connsiteX2" y="connsiteY2"/>
              </a:cxn>
              <a:cxn ang="0">
                <a:pos x="connsiteX3" y="connsiteY3"/>
              </a:cxn>
            </a:cxnLst>
            <a:rect l="l" t="t" r="r" b="b"/>
            <a:pathLst>
              <a:path w="2546364" h="5314950">
                <a:moveTo>
                  <a:pt x="0" y="0"/>
                </a:moveTo>
                <a:lnTo>
                  <a:pt x="2546364" y="0"/>
                </a:lnTo>
                <a:lnTo>
                  <a:pt x="2546364" y="5314950"/>
                </a:lnTo>
                <a:lnTo>
                  <a:pt x="0" y="5314950"/>
                </a:lnTo>
                <a:close/>
              </a:path>
            </a:pathLst>
          </a:custGeom>
          <a:solidFill>
            <a:schemeClr val="bg1">
              <a:lumMod val="85000"/>
            </a:schemeClr>
          </a:solidFill>
        </p:spPr>
        <p:txBody>
          <a:bodyPr wrap="square">
            <a:noAutofit/>
          </a:bodyPr>
          <a:lstStyle/>
          <a:p>
            <a:endParaRPr lang="en-US"/>
          </a:p>
        </p:txBody>
      </p:sp>
      <p:sp>
        <p:nvSpPr>
          <p:cNvPr id="10" name="Picture Placeholder 9">
            <a:extLst>
              <a:ext uri="{FF2B5EF4-FFF2-40B4-BE49-F238E27FC236}">
                <a16:creationId xmlns:a16="http://schemas.microsoft.com/office/drawing/2014/main" id="{4162C01C-F086-43AC-8F6D-B8DEF5AE28E8}"/>
              </a:ext>
            </a:extLst>
          </p:cNvPr>
          <p:cNvSpPr>
            <a:spLocks noGrp="1"/>
          </p:cNvSpPr>
          <p:nvPr>
            <p:ph type="pic" sz="quarter" idx="11"/>
          </p:nvPr>
        </p:nvSpPr>
        <p:spPr>
          <a:xfrm>
            <a:off x="2755830" y="762000"/>
            <a:ext cx="2546364" cy="5314950"/>
          </a:xfrm>
          <a:custGeom>
            <a:avLst/>
            <a:gdLst>
              <a:gd name="connsiteX0" fmla="*/ 0 w 2546364"/>
              <a:gd name="connsiteY0" fmla="*/ 0 h 5314950"/>
              <a:gd name="connsiteX1" fmla="*/ 2546364 w 2546364"/>
              <a:gd name="connsiteY1" fmla="*/ 0 h 5314950"/>
              <a:gd name="connsiteX2" fmla="*/ 2546364 w 2546364"/>
              <a:gd name="connsiteY2" fmla="*/ 5314950 h 5314950"/>
              <a:gd name="connsiteX3" fmla="*/ 0 w 2546364"/>
              <a:gd name="connsiteY3" fmla="*/ 5314950 h 5314950"/>
            </a:gdLst>
            <a:ahLst/>
            <a:cxnLst>
              <a:cxn ang="0">
                <a:pos x="connsiteX0" y="connsiteY0"/>
              </a:cxn>
              <a:cxn ang="0">
                <a:pos x="connsiteX1" y="connsiteY1"/>
              </a:cxn>
              <a:cxn ang="0">
                <a:pos x="connsiteX2" y="connsiteY2"/>
              </a:cxn>
              <a:cxn ang="0">
                <a:pos x="connsiteX3" y="connsiteY3"/>
              </a:cxn>
            </a:cxnLst>
            <a:rect l="l" t="t" r="r" b="b"/>
            <a:pathLst>
              <a:path w="2546364" h="5314950">
                <a:moveTo>
                  <a:pt x="0" y="0"/>
                </a:moveTo>
                <a:lnTo>
                  <a:pt x="2546364" y="0"/>
                </a:lnTo>
                <a:lnTo>
                  <a:pt x="2546364" y="5314950"/>
                </a:lnTo>
                <a:lnTo>
                  <a:pt x="0" y="5314950"/>
                </a:lnTo>
                <a:close/>
              </a:path>
            </a:pathLst>
          </a:custGeom>
          <a:solidFill>
            <a:schemeClr val="bg1">
              <a:lumMod val="85000"/>
            </a:schemeClr>
          </a:solidFill>
        </p:spPr>
        <p:txBody>
          <a:bodyPr wrap="square">
            <a:noAutofit/>
          </a:bodyPr>
          <a:lstStyle/>
          <a:p>
            <a:endParaRPr lang="en-US"/>
          </a:p>
        </p:txBody>
      </p:sp>
    </p:spTree>
    <p:extLst>
      <p:ext uri="{BB962C8B-B14F-4D97-AF65-F5344CB8AC3E}">
        <p14:creationId xmlns:p14="http://schemas.microsoft.com/office/powerpoint/2010/main" val="3942394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Vertical Title and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26D5D32F-F6A2-4C14-970E-40A3D5BBEA01}"/>
              </a:ext>
            </a:extLst>
          </p:cNvPr>
          <p:cNvSpPr>
            <a:spLocks noGrp="1"/>
          </p:cNvSpPr>
          <p:nvPr>
            <p:ph type="pic" sz="quarter" idx="10"/>
          </p:nvPr>
        </p:nvSpPr>
        <p:spPr>
          <a:xfrm>
            <a:off x="838200" y="3333750"/>
            <a:ext cx="3524250" cy="3524250"/>
          </a:xfrm>
          <a:custGeom>
            <a:avLst/>
            <a:gdLst>
              <a:gd name="connsiteX0" fmla="*/ 0 w 3524250"/>
              <a:gd name="connsiteY0" fmla="*/ 0 h 3524250"/>
              <a:gd name="connsiteX1" fmla="*/ 3524250 w 3524250"/>
              <a:gd name="connsiteY1" fmla="*/ 0 h 3524250"/>
              <a:gd name="connsiteX2" fmla="*/ 3524250 w 3524250"/>
              <a:gd name="connsiteY2" fmla="*/ 3524250 h 3524250"/>
              <a:gd name="connsiteX3" fmla="*/ 0 w 3524250"/>
              <a:gd name="connsiteY3" fmla="*/ 3524250 h 3524250"/>
            </a:gdLst>
            <a:ahLst/>
            <a:cxnLst>
              <a:cxn ang="0">
                <a:pos x="connsiteX0" y="connsiteY0"/>
              </a:cxn>
              <a:cxn ang="0">
                <a:pos x="connsiteX1" y="connsiteY1"/>
              </a:cxn>
              <a:cxn ang="0">
                <a:pos x="connsiteX2" y="connsiteY2"/>
              </a:cxn>
              <a:cxn ang="0">
                <a:pos x="connsiteX3" y="connsiteY3"/>
              </a:cxn>
            </a:cxnLst>
            <a:rect l="l" t="t" r="r" b="b"/>
            <a:pathLst>
              <a:path w="3524250" h="3524250">
                <a:moveTo>
                  <a:pt x="0" y="0"/>
                </a:moveTo>
                <a:lnTo>
                  <a:pt x="3524250" y="0"/>
                </a:lnTo>
                <a:lnTo>
                  <a:pt x="3524250" y="3524250"/>
                </a:lnTo>
                <a:lnTo>
                  <a:pt x="0" y="35242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792288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DC3C44-0A04-4CB5-84B4-B730325FA84A}"/>
              </a:ext>
            </a:extLst>
          </p:cNvPr>
          <p:cNvSpPr/>
          <p:nvPr userDrawn="1"/>
        </p:nvSpPr>
        <p:spPr>
          <a:xfrm>
            <a:off x="3505200" y="4257675"/>
            <a:ext cx="8686800" cy="260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55F9DA76-B088-4071-B99E-C670AFEC0BBD}"/>
              </a:ext>
            </a:extLst>
          </p:cNvPr>
          <p:cNvSpPr>
            <a:spLocks noGrp="1"/>
          </p:cNvSpPr>
          <p:nvPr>
            <p:ph type="pic" sz="quarter" idx="10"/>
          </p:nvPr>
        </p:nvSpPr>
        <p:spPr>
          <a:xfrm>
            <a:off x="838200" y="838199"/>
            <a:ext cx="4381500" cy="5200650"/>
          </a:xfrm>
          <a:custGeom>
            <a:avLst/>
            <a:gdLst>
              <a:gd name="connsiteX0" fmla="*/ 0 w 4381500"/>
              <a:gd name="connsiteY0" fmla="*/ 0 h 5200650"/>
              <a:gd name="connsiteX1" fmla="*/ 4381500 w 4381500"/>
              <a:gd name="connsiteY1" fmla="*/ 0 h 5200650"/>
              <a:gd name="connsiteX2" fmla="*/ 4381500 w 4381500"/>
              <a:gd name="connsiteY2" fmla="*/ 5200650 h 5200650"/>
              <a:gd name="connsiteX3" fmla="*/ 0 w 4381500"/>
              <a:gd name="connsiteY3" fmla="*/ 5200650 h 5200650"/>
            </a:gdLst>
            <a:ahLst/>
            <a:cxnLst>
              <a:cxn ang="0">
                <a:pos x="connsiteX0" y="connsiteY0"/>
              </a:cxn>
              <a:cxn ang="0">
                <a:pos x="connsiteX1" y="connsiteY1"/>
              </a:cxn>
              <a:cxn ang="0">
                <a:pos x="connsiteX2" y="connsiteY2"/>
              </a:cxn>
              <a:cxn ang="0">
                <a:pos x="connsiteX3" y="connsiteY3"/>
              </a:cxn>
            </a:cxnLst>
            <a:rect l="l" t="t" r="r" b="b"/>
            <a:pathLst>
              <a:path w="4381500" h="5200650">
                <a:moveTo>
                  <a:pt x="0" y="0"/>
                </a:moveTo>
                <a:lnTo>
                  <a:pt x="4381500" y="0"/>
                </a:lnTo>
                <a:lnTo>
                  <a:pt x="4381500" y="5200650"/>
                </a:lnTo>
                <a:lnTo>
                  <a:pt x="0" y="52006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8609522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Vertical Title an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BFFBAE1-F2DD-42DB-AC61-156E8E13090E}"/>
              </a:ext>
            </a:extLst>
          </p:cNvPr>
          <p:cNvSpPr/>
          <p:nvPr userDrawn="1"/>
        </p:nvSpPr>
        <p:spPr>
          <a:xfrm>
            <a:off x="0" y="4286250"/>
            <a:ext cx="8743949" cy="2571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Picture Placeholder 6">
            <a:extLst>
              <a:ext uri="{FF2B5EF4-FFF2-40B4-BE49-F238E27FC236}">
                <a16:creationId xmlns:a16="http://schemas.microsoft.com/office/drawing/2014/main" id="{FBD43858-7A21-4124-AF62-9CBF6FD1C8CA}"/>
              </a:ext>
            </a:extLst>
          </p:cNvPr>
          <p:cNvSpPr>
            <a:spLocks noGrp="1"/>
          </p:cNvSpPr>
          <p:nvPr>
            <p:ph type="pic" sz="quarter" idx="10"/>
          </p:nvPr>
        </p:nvSpPr>
        <p:spPr>
          <a:xfrm>
            <a:off x="847723" y="3428999"/>
            <a:ext cx="7038976" cy="2619375"/>
          </a:xfrm>
          <a:custGeom>
            <a:avLst/>
            <a:gdLst>
              <a:gd name="connsiteX0" fmla="*/ 0 w 7038976"/>
              <a:gd name="connsiteY0" fmla="*/ 0 h 2619375"/>
              <a:gd name="connsiteX1" fmla="*/ 7038976 w 7038976"/>
              <a:gd name="connsiteY1" fmla="*/ 0 h 2619375"/>
              <a:gd name="connsiteX2" fmla="*/ 7038976 w 7038976"/>
              <a:gd name="connsiteY2" fmla="*/ 2619375 h 2619375"/>
              <a:gd name="connsiteX3" fmla="*/ 0 w 7038976"/>
              <a:gd name="connsiteY3" fmla="*/ 2619375 h 2619375"/>
            </a:gdLst>
            <a:ahLst/>
            <a:cxnLst>
              <a:cxn ang="0">
                <a:pos x="connsiteX0" y="connsiteY0"/>
              </a:cxn>
              <a:cxn ang="0">
                <a:pos x="connsiteX1" y="connsiteY1"/>
              </a:cxn>
              <a:cxn ang="0">
                <a:pos x="connsiteX2" y="connsiteY2"/>
              </a:cxn>
              <a:cxn ang="0">
                <a:pos x="connsiteX3" y="connsiteY3"/>
              </a:cxn>
            </a:cxnLst>
            <a:rect l="l" t="t" r="r" b="b"/>
            <a:pathLst>
              <a:path w="7038976" h="2619375">
                <a:moveTo>
                  <a:pt x="0" y="0"/>
                </a:moveTo>
                <a:lnTo>
                  <a:pt x="7038976" y="0"/>
                </a:lnTo>
                <a:lnTo>
                  <a:pt x="7038976" y="2619375"/>
                </a:lnTo>
                <a:lnTo>
                  <a:pt x="0" y="2619375"/>
                </a:lnTo>
                <a:close/>
              </a:path>
            </a:pathLst>
          </a:custGeom>
          <a:solidFill>
            <a:schemeClr val="bg1">
              <a:lumMod val="65000"/>
            </a:schemeClr>
          </a:solidFill>
        </p:spPr>
        <p:txBody>
          <a:bodyPr wrap="square">
            <a:noAutofit/>
          </a:bodyPr>
          <a:lstStyle/>
          <a:p>
            <a:endParaRPr lang="en-US"/>
          </a:p>
        </p:txBody>
      </p:sp>
      <p:sp>
        <p:nvSpPr>
          <p:cNvPr id="11" name="Picture Placeholder 10">
            <a:extLst>
              <a:ext uri="{FF2B5EF4-FFF2-40B4-BE49-F238E27FC236}">
                <a16:creationId xmlns:a16="http://schemas.microsoft.com/office/drawing/2014/main" id="{0FB96049-5516-4BE7-BCE6-63D550655962}"/>
              </a:ext>
            </a:extLst>
          </p:cNvPr>
          <p:cNvSpPr>
            <a:spLocks noGrp="1"/>
          </p:cNvSpPr>
          <p:nvPr>
            <p:ph type="pic" sz="quarter" idx="11"/>
          </p:nvPr>
        </p:nvSpPr>
        <p:spPr>
          <a:xfrm>
            <a:off x="8743949" y="-1"/>
            <a:ext cx="3448050" cy="6858000"/>
          </a:xfrm>
          <a:custGeom>
            <a:avLst/>
            <a:gdLst>
              <a:gd name="connsiteX0" fmla="*/ 0 w 3448050"/>
              <a:gd name="connsiteY0" fmla="*/ 0 h 6858000"/>
              <a:gd name="connsiteX1" fmla="*/ 3448050 w 3448050"/>
              <a:gd name="connsiteY1" fmla="*/ 0 h 6858000"/>
              <a:gd name="connsiteX2" fmla="*/ 3448050 w 3448050"/>
              <a:gd name="connsiteY2" fmla="*/ 6858000 h 6858000"/>
              <a:gd name="connsiteX3" fmla="*/ 0 w 34480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448050" h="6858000">
                <a:moveTo>
                  <a:pt x="0" y="0"/>
                </a:moveTo>
                <a:lnTo>
                  <a:pt x="3448050" y="0"/>
                </a:lnTo>
                <a:lnTo>
                  <a:pt x="3448050" y="6858000"/>
                </a:lnTo>
                <a:lnTo>
                  <a:pt x="0" y="6858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8735787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Vertical Title and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AECAF3D-5E67-42E0-B7E9-ED4517825A8B}"/>
              </a:ext>
            </a:extLst>
          </p:cNvPr>
          <p:cNvSpPr>
            <a:spLocks noGrp="1"/>
          </p:cNvSpPr>
          <p:nvPr>
            <p:ph type="pic" sz="quarter" idx="10"/>
          </p:nvPr>
        </p:nvSpPr>
        <p:spPr>
          <a:xfrm>
            <a:off x="838200" y="819150"/>
            <a:ext cx="3524250" cy="5276850"/>
          </a:xfrm>
          <a:custGeom>
            <a:avLst/>
            <a:gdLst>
              <a:gd name="connsiteX0" fmla="*/ 0 w 3524250"/>
              <a:gd name="connsiteY0" fmla="*/ 0 h 5276850"/>
              <a:gd name="connsiteX1" fmla="*/ 3524250 w 3524250"/>
              <a:gd name="connsiteY1" fmla="*/ 0 h 5276850"/>
              <a:gd name="connsiteX2" fmla="*/ 3524250 w 3524250"/>
              <a:gd name="connsiteY2" fmla="*/ 5276850 h 5276850"/>
              <a:gd name="connsiteX3" fmla="*/ 0 w 3524250"/>
              <a:gd name="connsiteY3" fmla="*/ 5276850 h 5276850"/>
            </a:gdLst>
            <a:ahLst/>
            <a:cxnLst>
              <a:cxn ang="0">
                <a:pos x="connsiteX0" y="connsiteY0"/>
              </a:cxn>
              <a:cxn ang="0">
                <a:pos x="connsiteX1" y="connsiteY1"/>
              </a:cxn>
              <a:cxn ang="0">
                <a:pos x="connsiteX2" y="connsiteY2"/>
              </a:cxn>
              <a:cxn ang="0">
                <a:pos x="connsiteX3" y="connsiteY3"/>
              </a:cxn>
            </a:cxnLst>
            <a:rect l="l" t="t" r="r" b="b"/>
            <a:pathLst>
              <a:path w="3524250" h="5276850">
                <a:moveTo>
                  <a:pt x="0" y="0"/>
                </a:moveTo>
                <a:lnTo>
                  <a:pt x="3524250" y="0"/>
                </a:lnTo>
                <a:lnTo>
                  <a:pt x="3524250" y="5276850"/>
                </a:lnTo>
                <a:lnTo>
                  <a:pt x="0" y="52768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434745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228C8E-B1B2-41A1-B960-330AAC1B7C3A}"/>
              </a:ext>
            </a:extLst>
          </p:cNvPr>
          <p:cNvSpPr/>
          <p:nvPr userDrawn="1"/>
        </p:nvSpPr>
        <p:spPr>
          <a:xfrm>
            <a:off x="5181600" y="0"/>
            <a:ext cx="7010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Picture Placeholder 8">
            <a:extLst>
              <a:ext uri="{FF2B5EF4-FFF2-40B4-BE49-F238E27FC236}">
                <a16:creationId xmlns:a16="http://schemas.microsoft.com/office/drawing/2014/main" id="{07345261-0F1B-4E45-9A70-15487DF24ADC}"/>
              </a:ext>
            </a:extLst>
          </p:cNvPr>
          <p:cNvSpPr>
            <a:spLocks noGrp="1"/>
          </p:cNvSpPr>
          <p:nvPr>
            <p:ph type="pic" sz="quarter" idx="10"/>
          </p:nvPr>
        </p:nvSpPr>
        <p:spPr>
          <a:xfrm>
            <a:off x="761999" y="838200"/>
            <a:ext cx="2590800" cy="5314950"/>
          </a:xfrm>
          <a:custGeom>
            <a:avLst/>
            <a:gdLst>
              <a:gd name="connsiteX0" fmla="*/ 0 w 2590800"/>
              <a:gd name="connsiteY0" fmla="*/ 0 h 5314950"/>
              <a:gd name="connsiteX1" fmla="*/ 2590800 w 2590800"/>
              <a:gd name="connsiteY1" fmla="*/ 0 h 5314950"/>
              <a:gd name="connsiteX2" fmla="*/ 2590800 w 2590800"/>
              <a:gd name="connsiteY2" fmla="*/ 5314950 h 5314950"/>
              <a:gd name="connsiteX3" fmla="*/ 0 w 2590800"/>
              <a:gd name="connsiteY3" fmla="*/ 5314950 h 5314950"/>
            </a:gdLst>
            <a:ahLst/>
            <a:cxnLst>
              <a:cxn ang="0">
                <a:pos x="connsiteX0" y="connsiteY0"/>
              </a:cxn>
              <a:cxn ang="0">
                <a:pos x="connsiteX1" y="connsiteY1"/>
              </a:cxn>
              <a:cxn ang="0">
                <a:pos x="connsiteX2" y="connsiteY2"/>
              </a:cxn>
              <a:cxn ang="0">
                <a:pos x="connsiteX3" y="connsiteY3"/>
              </a:cxn>
            </a:cxnLst>
            <a:rect l="l" t="t" r="r" b="b"/>
            <a:pathLst>
              <a:path w="2590800" h="5314950">
                <a:moveTo>
                  <a:pt x="0" y="0"/>
                </a:moveTo>
                <a:lnTo>
                  <a:pt x="2590800" y="0"/>
                </a:lnTo>
                <a:lnTo>
                  <a:pt x="2590800" y="5314950"/>
                </a:lnTo>
                <a:lnTo>
                  <a:pt x="0" y="5314950"/>
                </a:lnTo>
                <a:close/>
              </a:path>
            </a:pathLst>
          </a:custGeom>
          <a:solidFill>
            <a:schemeClr val="bg1">
              <a:lumMod val="65000"/>
            </a:schemeClr>
          </a:solidFill>
        </p:spPr>
        <p:txBody>
          <a:bodyPr wrap="square">
            <a:noAutofit/>
          </a:bodyPr>
          <a:lstStyle/>
          <a:p>
            <a:endParaRPr lang="en-US"/>
          </a:p>
        </p:txBody>
      </p:sp>
      <p:sp>
        <p:nvSpPr>
          <p:cNvPr id="12" name="Picture Placeholder 11">
            <a:extLst>
              <a:ext uri="{FF2B5EF4-FFF2-40B4-BE49-F238E27FC236}">
                <a16:creationId xmlns:a16="http://schemas.microsoft.com/office/drawing/2014/main" id="{1872B356-071D-42D7-8058-1E2589D6AC3A}"/>
              </a:ext>
            </a:extLst>
          </p:cNvPr>
          <p:cNvSpPr>
            <a:spLocks noGrp="1"/>
          </p:cNvSpPr>
          <p:nvPr>
            <p:ph type="pic" sz="quarter" idx="11"/>
          </p:nvPr>
        </p:nvSpPr>
        <p:spPr>
          <a:xfrm>
            <a:off x="3505200" y="838199"/>
            <a:ext cx="2590800" cy="5314950"/>
          </a:xfrm>
          <a:custGeom>
            <a:avLst/>
            <a:gdLst>
              <a:gd name="connsiteX0" fmla="*/ 0 w 2590800"/>
              <a:gd name="connsiteY0" fmla="*/ 0 h 5314950"/>
              <a:gd name="connsiteX1" fmla="*/ 2590800 w 2590800"/>
              <a:gd name="connsiteY1" fmla="*/ 0 h 5314950"/>
              <a:gd name="connsiteX2" fmla="*/ 2590800 w 2590800"/>
              <a:gd name="connsiteY2" fmla="*/ 5314950 h 5314950"/>
              <a:gd name="connsiteX3" fmla="*/ 0 w 2590800"/>
              <a:gd name="connsiteY3" fmla="*/ 5314950 h 5314950"/>
            </a:gdLst>
            <a:ahLst/>
            <a:cxnLst>
              <a:cxn ang="0">
                <a:pos x="connsiteX0" y="connsiteY0"/>
              </a:cxn>
              <a:cxn ang="0">
                <a:pos x="connsiteX1" y="connsiteY1"/>
              </a:cxn>
              <a:cxn ang="0">
                <a:pos x="connsiteX2" y="connsiteY2"/>
              </a:cxn>
              <a:cxn ang="0">
                <a:pos x="connsiteX3" y="connsiteY3"/>
              </a:cxn>
            </a:cxnLst>
            <a:rect l="l" t="t" r="r" b="b"/>
            <a:pathLst>
              <a:path w="2590800" h="5314950">
                <a:moveTo>
                  <a:pt x="0" y="0"/>
                </a:moveTo>
                <a:lnTo>
                  <a:pt x="2590800" y="0"/>
                </a:lnTo>
                <a:lnTo>
                  <a:pt x="2590800" y="5314950"/>
                </a:lnTo>
                <a:lnTo>
                  <a:pt x="0" y="5314950"/>
                </a:lnTo>
                <a:close/>
              </a:path>
            </a:pathLst>
          </a:custGeom>
          <a:solidFill>
            <a:schemeClr val="bg1">
              <a:lumMod val="65000"/>
            </a:schemeClr>
          </a:solidFill>
        </p:spPr>
        <p:txBody>
          <a:bodyPr wrap="square">
            <a:noAutofit/>
          </a:bodyPr>
          <a:lstStyle/>
          <a:p>
            <a:endParaRPr lang="en-US"/>
          </a:p>
        </p:txBody>
      </p:sp>
      <p:sp>
        <p:nvSpPr>
          <p:cNvPr id="15" name="Picture Placeholder 14">
            <a:extLst>
              <a:ext uri="{FF2B5EF4-FFF2-40B4-BE49-F238E27FC236}">
                <a16:creationId xmlns:a16="http://schemas.microsoft.com/office/drawing/2014/main" id="{2BA8824B-8F29-4C94-B2D5-75A22FA2F751}"/>
              </a:ext>
            </a:extLst>
          </p:cNvPr>
          <p:cNvSpPr>
            <a:spLocks noGrp="1"/>
          </p:cNvSpPr>
          <p:nvPr>
            <p:ph type="pic" sz="quarter" idx="12"/>
          </p:nvPr>
        </p:nvSpPr>
        <p:spPr>
          <a:xfrm>
            <a:off x="6248400" y="838200"/>
            <a:ext cx="5086350" cy="2590800"/>
          </a:xfrm>
          <a:custGeom>
            <a:avLst/>
            <a:gdLst>
              <a:gd name="connsiteX0" fmla="*/ 0 w 5086350"/>
              <a:gd name="connsiteY0" fmla="*/ 0 h 2590800"/>
              <a:gd name="connsiteX1" fmla="*/ 5086350 w 5086350"/>
              <a:gd name="connsiteY1" fmla="*/ 0 h 2590800"/>
              <a:gd name="connsiteX2" fmla="*/ 5086350 w 5086350"/>
              <a:gd name="connsiteY2" fmla="*/ 2590800 h 2590800"/>
              <a:gd name="connsiteX3" fmla="*/ 0 w 5086350"/>
              <a:gd name="connsiteY3" fmla="*/ 2590800 h 2590800"/>
            </a:gdLst>
            <a:ahLst/>
            <a:cxnLst>
              <a:cxn ang="0">
                <a:pos x="connsiteX0" y="connsiteY0"/>
              </a:cxn>
              <a:cxn ang="0">
                <a:pos x="connsiteX1" y="connsiteY1"/>
              </a:cxn>
              <a:cxn ang="0">
                <a:pos x="connsiteX2" y="connsiteY2"/>
              </a:cxn>
              <a:cxn ang="0">
                <a:pos x="connsiteX3" y="connsiteY3"/>
              </a:cxn>
            </a:cxnLst>
            <a:rect l="l" t="t" r="r" b="b"/>
            <a:pathLst>
              <a:path w="5086350" h="2590800">
                <a:moveTo>
                  <a:pt x="0" y="0"/>
                </a:moveTo>
                <a:lnTo>
                  <a:pt x="5086350" y="0"/>
                </a:lnTo>
                <a:lnTo>
                  <a:pt x="5086350" y="2590800"/>
                </a:lnTo>
                <a:lnTo>
                  <a:pt x="0" y="2590800"/>
                </a:lnTo>
                <a:close/>
              </a:path>
            </a:pathLst>
          </a:custGeom>
          <a:solidFill>
            <a:schemeClr val="bg1">
              <a:lumMod val="65000"/>
            </a:schemeClr>
          </a:solidFill>
        </p:spPr>
        <p:txBody>
          <a:bodyPr wrap="square">
            <a:noAutofit/>
          </a:bodyPr>
          <a:lstStyle/>
          <a:p>
            <a:endParaRPr lang="en-US"/>
          </a:p>
        </p:txBody>
      </p:sp>
      <p:sp>
        <p:nvSpPr>
          <p:cNvPr id="18" name="Picture Placeholder 17">
            <a:extLst>
              <a:ext uri="{FF2B5EF4-FFF2-40B4-BE49-F238E27FC236}">
                <a16:creationId xmlns:a16="http://schemas.microsoft.com/office/drawing/2014/main" id="{C0ED0CD4-4DC2-437C-84C7-A63231C97C5C}"/>
              </a:ext>
            </a:extLst>
          </p:cNvPr>
          <p:cNvSpPr>
            <a:spLocks noGrp="1"/>
          </p:cNvSpPr>
          <p:nvPr>
            <p:ph type="pic" sz="quarter" idx="13"/>
          </p:nvPr>
        </p:nvSpPr>
        <p:spPr>
          <a:xfrm>
            <a:off x="6248399" y="3562349"/>
            <a:ext cx="5086350" cy="2590800"/>
          </a:xfrm>
          <a:custGeom>
            <a:avLst/>
            <a:gdLst>
              <a:gd name="connsiteX0" fmla="*/ 0 w 5086350"/>
              <a:gd name="connsiteY0" fmla="*/ 0 h 2590800"/>
              <a:gd name="connsiteX1" fmla="*/ 5086350 w 5086350"/>
              <a:gd name="connsiteY1" fmla="*/ 0 h 2590800"/>
              <a:gd name="connsiteX2" fmla="*/ 5086350 w 5086350"/>
              <a:gd name="connsiteY2" fmla="*/ 2590800 h 2590800"/>
              <a:gd name="connsiteX3" fmla="*/ 0 w 5086350"/>
              <a:gd name="connsiteY3" fmla="*/ 2590800 h 2590800"/>
            </a:gdLst>
            <a:ahLst/>
            <a:cxnLst>
              <a:cxn ang="0">
                <a:pos x="connsiteX0" y="connsiteY0"/>
              </a:cxn>
              <a:cxn ang="0">
                <a:pos x="connsiteX1" y="connsiteY1"/>
              </a:cxn>
              <a:cxn ang="0">
                <a:pos x="connsiteX2" y="connsiteY2"/>
              </a:cxn>
              <a:cxn ang="0">
                <a:pos x="connsiteX3" y="connsiteY3"/>
              </a:cxn>
            </a:cxnLst>
            <a:rect l="l" t="t" r="r" b="b"/>
            <a:pathLst>
              <a:path w="5086350" h="2590800">
                <a:moveTo>
                  <a:pt x="0" y="0"/>
                </a:moveTo>
                <a:lnTo>
                  <a:pt x="5086350" y="0"/>
                </a:lnTo>
                <a:lnTo>
                  <a:pt x="5086350" y="2590800"/>
                </a:lnTo>
                <a:lnTo>
                  <a:pt x="0" y="25908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622084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F3C1B3D-940C-4D56-9E86-42639F673166}"/>
              </a:ext>
            </a:extLst>
          </p:cNvPr>
          <p:cNvSpPr/>
          <p:nvPr userDrawn="1"/>
        </p:nvSpPr>
        <p:spPr>
          <a:xfrm>
            <a:off x="0" y="0"/>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E35C564B-6002-4BED-AB60-4D5CBD9E491C}"/>
              </a:ext>
            </a:extLst>
          </p:cNvPr>
          <p:cNvSpPr>
            <a:spLocks noGrp="1"/>
          </p:cNvSpPr>
          <p:nvPr>
            <p:ph type="pic" sz="quarter" idx="10"/>
          </p:nvPr>
        </p:nvSpPr>
        <p:spPr>
          <a:xfrm>
            <a:off x="882987" y="931333"/>
            <a:ext cx="3219299" cy="4995333"/>
          </a:xfrm>
          <a:custGeom>
            <a:avLst/>
            <a:gdLst>
              <a:gd name="connsiteX0" fmla="*/ 0 w 3219299"/>
              <a:gd name="connsiteY0" fmla="*/ 0 h 4995333"/>
              <a:gd name="connsiteX1" fmla="*/ 3219299 w 3219299"/>
              <a:gd name="connsiteY1" fmla="*/ 0 h 4995333"/>
              <a:gd name="connsiteX2" fmla="*/ 3219299 w 3219299"/>
              <a:gd name="connsiteY2" fmla="*/ 4995333 h 4995333"/>
              <a:gd name="connsiteX3" fmla="*/ 0 w 3219299"/>
              <a:gd name="connsiteY3" fmla="*/ 4995333 h 4995333"/>
            </a:gdLst>
            <a:ahLst/>
            <a:cxnLst>
              <a:cxn ang="0">
                <a:pos x="connsiteX0" y="connsiteY0"/>
              </a:cxn>
              <a:cxn ang="0">
                <a:pos x="connsiteX1" y="connsiteY1"/>
              </a:cxn>
              <a:cxn ang="0">
                <a:pos x="connsiteX2" y="connsiteY2"/>
              </a:cxn>
              <a:cxn ang="0">
                <a:pos x="connsiteX3" y="connsiteY3"/>
              </a:cxn>
            </a:cxnLst>
            <a:rect l="l" t="t" r="r" b="b"/>
            <a:pathLst>
              <a:path w="3219299" h="4995333">
                <a:moveTo>
                  <a:pt x="0" y="0"/>
                </a:moveTo>
                <a:lnTo>
                  <a:pt x="3219299" y="0"/>
                </a:lnTo>
                <a:lnTo>
                  <a:pt x="3219299" y="4995333"/>
                </a:lnTo>
                <a:lnTo>
                  <a:pt x="0" y="4995333"/>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0858562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C128D8-96BC-40DE-86FD-9CBD82F40260}"/>
              </a:ext>
            </a:extLst>
          </p:cNvPr>
          <p:cNvSpPr/>
          <p:nvPr userDrawn="1"/>
        </p:nvSpPr>
        <p:spPr>
          <a:xfrm>
            <a:off x="857250" y="0"/>
            <a:ext cx="8763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CAB1930D-6A89-48D1-8D5D-96C8A0FD9872}"/>
              </a:ext>
            </a:extLst>
          </p:cNvPr>
          <p:cNvSpPr>
            <a:spLocks noGrp="1"/>
          </p:cNvSpPr>
          <p:nvPr>
            <p:ph type="pic" sz="quarter" idx="10"/>
          </p:nvPr>
        </p:nvSpPr>
        <p:spPr>
          <a:xfrm>
            <a:off x="7181904" y="1496211"/>
            <a:ext cx="4071181" cy="2419445"/>
          </a:xfrm>
          <a:custGeom>
            <a:avLst/>
            <a:gdLst>
              <a:gd name="connsiteX0" fmla="*/ 0 w 4071181"/>
              <a:gd name="connsiteY0" fmla="*/ 0 h 2419445"/>
              <a:gd name="connsiteX1" fmla="*/ 4071181 w 4071181"/>
              <a:gd name="connsiteY1" fmla="*/ 0 h 2419445"/>
              <a:gd name="connsiteX2" fmla="*/ 4071181 w 4071181"/>
              <a:gd name="connsiteY2" fmla="*/ 2419445 h 2419445"/>
              <a:gd name="connsiteX3" fmla="*/ 0 w 4071181"/>
              <a:gd name="connsiteY3" fmla="*/ 2419445 h 2419445"/>
            </a:gdLst>
            <a:ahLst/>
            <a:cxnLst>
              <a:cxn ang="0">
                <a:pos x="connsiteX0" y="connsiteY0"/>
              </a:cxn>
              <a:cxn ang="0">
                <a:pos x="connsiteX1" y="connsiteY1"/>
              </a:cxn>
              <a:cxn ang="0">
                <a:pos x="connsiteX2" y="connsiteY2"/>
              </a:cxn>
              <a:cxn ang="0">
                <a:pos x="connsiteX3" y="connsiteY3"/>
              </a:cxn>
            </a:cxnLst>
            <a:rect l="l" t="t" r="r" b="b"/>
            <a:pathLst>
              <a:path w="4071181" h="2419445">
                <a:moveTo>
                  <a:pt x="0" y="0"/>
                </a:moveTo>
                <a:lnTo>
                  <a:pt x="4071181" y="0"/>
                </a:lnTo>
                <a:lnTo>
                  <a:pt x="4071181" y="2419445"/>
                </a:lnTo>
                <a:lnTo>
                  <a:pt x="0" y="2419445"/>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4163114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515C93-49D3-4941-8A0D-7D3AEF13D4A9}"/>
              </a:ext>
            </a:extLst>
          </p:cNvPr>
          <p:cNvSpPr/>
          <p:nvPr userDrawn="1"/>
        </p:nvSpPr>
        <p:spPr>
          <a:xfrm>
            <a:off x="0" y="0"/>
            <a:ext cx="34861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B3F3443C-5A80-4EB8-AA0A-93B4E8B3B68A}"/>
              </a:ext>
            </a:extLst>
          </p:cNvPr>
          <p:cNvSpPr>
            <a:spLocks noGrp="1"/>
          </p:cNvSpPr>
          <p:nvPr>
            <p:ph type="pic" sz="quarter" idx="10"/>
          </p:nvPr>
        </p:nvSpPr>
        <p:spPr>
          <a:xfrm>
            <a:off x="1641322" y="959089"/>
            <a:ext cx="2365296" cy="4962889"/>
          </a:xfrm>
          <a:custGeom>
            <a:avLst/>
            <a:gdLst>
              <a:gd name="connsiteX0" fmla="*/ 0 w 2365296"/>
              <a:gd name="connsiteY0" fmla="*/ 0 h 4962889"/>
              <a:gd name="connsiteX1" fmla="*/ 2365296 w 2365296"/>
              <a:gd name="connsiteY1" fmla="*/ 0 h 4962889"/>
              <a:gd name="connsiteX2" fmla="*/ 2365296 w 2365296"/>
              <a:gd name="connsiteY2" fmla="*/ 4962889 h 4962889"/>
              <a:gd name="connsiteX3" fmla="*/ 0 w 2365296"/>
              <a:gd name="connsiteY3" fmla="*/ 4962889 h 4962889"/>
            </a:gdLst>
            <a:ahLst/>
            <a:cxnLst>
              <a:cxn ang="0">
                <a:pos x="connsiteX0" y="connsiteY0"/>
              </a:cxn>
              <a:cxn ang="0">
                <a:pos x="connsiteX1" y="connsiteY1"/>
              </a:cxn>
              <a:cxn ang="0">
                <a:pos x="connsiteX2" y="connsiteY2"/>
              </a:cxn>
              <a:cxn ang="0">
                <a:pos x="connsiteX3" y="connsiteY3"/>
              </a:cxn>
            </a:cxnLst>
            <a:rect l="l" t="t" r="r" b="b"/>
            <a:pathLst>
              <a:path w="2365296" h="4962889">
                <a:moveTo>
                  <a:pt x="0" y="0"/>
                </a:moveTo>
                <a:lnTo>
                  <a:pt x="2365296" y="0"/>
                </a:lnTo>
                <a:lnTo>
                  <a:pt x="2365296" y="4962889"/>
                </a:lnTo>
                <a:lnTo>
                  <a:pt x="0" y="4962889"/>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15841942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3EF1E6-9D8A-41D8-ACF7-69B7646AF54D}"/>
              </a:ext>
            </a:extLst>
          </p:cNvPr>
          <p:cNvSpPr/>
          <p:nvPr userDrawn="1"/>
        </p:nvSpPr>
        <p:spPr>
          <a:xfrm>
            <a:off x="4362450" y="0"/>
            <a:ext cx="78295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3660CD39-C123-47CD-9D36-B7F3EC265E66}"/>
              </a:ext>
            </a:extLst>
          </p:cNvPr>
          <p:cNvSpPr>
            <a:spLocks noGrp="1"/>
          </p:cNvSpPr>
          <p:nvPr>
            <p:ph type="pic" sz="quarter" idx="10"/>
          </p:nvPr>
        </p:nvSpPr>
        <p:spPr>
          <a:xfrm>
            <a:off x="876299" y="1142999"/>
            <a:ext cx="5219700" cy="4572000"/>
          </a:xfrm>
          <a:custGeom>
            <a:avLst/>
            <a:gdLst>
              <a:gd name="connsiteX0" fmla="*/ 0 w 5219700"/>
              <a:gd name="connsiteY0" fmla="*/ 0 h 4572000"/>
              <a:gd name="connsiteX1" fmla="*/ 5219700 w 5219700"/>
              <a:gd name="connsiteY1" fmla="*/ 0 h 4572000"/>
              <a:gd name="connsiteX2" fmla="*/ 5219700 w 5219700"/>
              <a:gd name="connsiteY2" fmla="*/ 4572000 h 4572000"/>
              <a:gd name="connsiteX3" fmla="*/ 0 w 5219700"/>
              <a:gd name="connsiteY3" fmla="*/ 4572000 h 4572000"/>
            </a:gdLst>
            <a:ahLst/>
            <a:cxnLst>
              <a:cxn ang="0">
                <a:pos x="connsiteX0" y="connsiteY0"/>
              </a:cxn>
              <a:cxn ang="0">
                <a:pos x="connsiteX1" y="connsiteY1"/>
              </a:cxn>
              <a:cxn ang="0">
                <a:pos x="connsiteX2" y="connsiteY2"/>
              </a:cxn>
              <a:cxn ang="0">
                <a:pos x="connsiteX3" y="connsiteY3"/>
              </a:cxn>
            </a:cxnLst>
            <a:rect l="l" t="t" r="r" b="b"/>
            <a:pathLst>
              <a:path w="5219700" h="4572000">
                <a:moveTo>
                  <a:pt x="0" y="0"/>
                </a:moveTo>
                <a:lnTo>
                  <a:pt x="5219700" y="0"/>
                </a:lnTo>
                <a:lnTo>
                  <a:pt x="5219700" y="4572000"/>
                </a:lnTo>
                <a:lnTo>
                  <a:pt x="0" y="4572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674459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Vertical Title and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316E0B-604A-4F75-9BED-C27C9855C359}"/>
              </a:ext>
            </a:extLst>
          </p:cNvPr>
          <p:cNvSpPr/>
          <p:nvPr userDrawn="1"/>
        </p:nvSpPr>
        <p:spPr>
          <a:xfrm>
            <a:off x="0" y="3429000"/>
            <a:ext cx="12192000" cy="345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B41BAE46-594A-4600-850D-19C42891859B}"/>
              </a:ext>
            </a:extLst>
          </p:cNvPr>
          <p:cNvSpPr>
            <a:spLocks noGrp="1"/>
          </p:cNvSpPr>
          <p:nvPr>
            <p:ph type="pic" sz="quarter" idx="10"/>
          </p:nvPr>
        </p:nvSpPr>
        <p:spPr>
          <a:xfrm>
            <a:off x="876300" y="800100"/>
            <a:ext cx="3448050" cy="6057900"/>
          </a:xfrm>
          <a:custGeom>
            <a:avLst/>
            <a:gdLst>
              <a:gd name="connsiteX0" fmla="*/ 0 w 3448050"/>
              <a:gd name="connsiteY0" fmla="*/ 0 h 6057900"/>
              <a:gd name="connsiteX1" fmla="*/ 3448050 w 3448050"/>
              <a:gd name="connsiteY1" fmla="*/ 0 h 6057900"/>
              <a:gd name="connsiteX2" fmla="*/ 3448050 w 3448050"/>
              <a:gd name="connsiteY2" fmla="*/ 6057900 h 6057900"/>
              <a:gd name="connsiteX3" fmla="*/ 0 w 3448050"/>
              <a:gd name="connsiteY3" fmla="*/ 6057900 h 6057900"/>
            </a:gdLst>
            <a:ahLst/>
            <a:cxnLst>
              <a:cxn ang="0">
                <a:pos x="connsiteX0" y="connsiteY0"/>
              </a:cxn>
              <a:cxn ang="0">
                <a:pos x="connsiteX1" y="connsiteY1"/>
              </a:cxn>
              <a:cxn ang="0">
                <a:pos x="connsiteX2" y="connsiteY2"/>
              </a:cxn>
              <a:cxn ang="0">
                <a:pos x="connsiteX3" y="connsiteY3"/>
              </a:cxn>
            </a:cxnLst>
            <a:rect l="l" t="t" r="r" b="b"/>
            <a:pathLst>
              <a:path w="3448050" h="6057900">
                <a:moveTo>
                  <a:pt x="0" y="0"/>
                </a:moveTo>
                <a:lnTo>
                  <a:pt x="3448050" y="0"/>
                </a:lnTo>
                <a:lnTo>
                  <a:pt x="3448050" y="6057900"/>
                </a:lnTo>
                <a:lnTo>
                  <a:pt x="0" y="60579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7154086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Vertical Title and Tex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D1B3621-DFA6-42F0-A1D1-F8D193736B3F}"/>
              </a:ext>
            </a:extLst>
          </p:cNvPr>
          <p:cNvSpPr>
            <a:spLocks noGrp="1"/>
          </p:cNvSpPr>
          <p:nvPr>
            <p:ph type="pic" sz="quarter" idx="10"/>
          </p:nvPr>
        </p:nvSpPr>
        <p:spPr>
          <a:xfrm>
            <a:off x="876300" y="838199"/>
            <a:ext cx="4362450" cy="6019800"/>
          </a:xfrm>
          <a:custGeom>
            <a:avLst/>
            <a:gdLst>
              <a:gd name="connsiteX0" fmla="*/ 0 w 4362450"/>
              <a:gd name="connsiteY0" fmla="*/ 0 h 6019800"/>
              <a:gd name="connsiteX1" fmla="*/ 4362450 w 4362450"/>
              <a:gd name="connsiteY1" fmla="*/ 0 h 6019800"/>
              <a:gd name="connsiteX2" fmla="*/ 4362450 w 4362450"/>
              <a:gd name="connsiteY2" fmla="*/ 6019800 h 6019800"/>
              <a:gd name="connsiteX3" fmla="*/ 0 w 4362450"/>
              <a:gd name="connsiteY3" fmla="*/ 6019800 h 6019800"/>
            </a:gdLst>
            <a:ahLst/>
            <a:cxnLst>
              <a:cxn ang="0">
                <a:pos x="connsiteX0" y="connsiteY0"/>
              </a:cxn>
              <a:cxn ang="0">
                <a:pos x="connsiteX1" y="connsiteY1"/>
              </a:cxn>
              <a:cxn ang="0">
                <a:pos x="connsiteX2" y="connsiteY2"/>
              </a:cxn>
              <a:cxn ang="0">
                <a:pos x="connsiteX3" y="connsiteY3"/>
              </a:cxn>
            </a:cxnLst>
            <a:rect l="l" t="t" r="r" b="b"/>
            <a:pathLst>
              <a:path w="4362450" h="6019800">
                <a:moveTo>
                  <a:pt x="0" y="0"/>
                </a:moveTo>
                <a:lnTo>
                  <a:pt x="4362450" y="0"/>
                </a:lnTo>
                <a:lnTo>
                  <a:pt x="4362450" y="6019800"/>
                </a:lnTo>
                <a:lnTo>
                  <a:pt x="0" y="60198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880978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60EA73-8C76-4BDA-80E2-F819ED6F3B23}"/>
              </a:ext>
            </a:extLst>
          </p:cNvPr>
          <p:cNvSpPr/>
          <p:nvPr userDrawn="1"/>
        </p:nvSpPr>
        <p:spPr>
          <a:xfrm>
            <a:off x="0" y="0"/>
            <a:ext cx="26479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7FDB8F86-7D2A-4C4A-80AA-2B69CD7D0770}"/>
              </a:ext>
            </a:extLst>
          </p:cNvPr>
          <p:cNvSpPr>
            <a:spLocks noGrp="1"/>
          </p:cNvSpPr>
          <p:nvPr>
            <p:ph type="pic" sz="quarter" idx="10"/>
          </p:nvPr>
        </p:nvSpPr>
        <p:spPr>
          <a:xfrm>
            <a:off x="857250" y="1209674"/>
            <a:ext cx="3543300" cy="4438650"/>
          </a:xfrm>
          <a:custGeom>
            <a:avLst/>
            <a:gdLst>
              <a:gd name="connsiteX0" fmla="*/ 0 w 3543300"/>
              <a:gd name="connsiteY0" fmla="*/ 0 h 4438650"/>
              <a:gd name="connsiteX1" fmla="*/ 3543300 w 3543300"/>
              <a:gd name="connsiteY1" fmla="*/ 0 h 4438650"/>
              <a:gd name="connsiteX2" fmla="*/ 3543300 w 3543300"/>
              <a:gd name="connsiteY2" fmla="*/ 4438650 h 4438650"/>
              <a:gd name="connsiteX3" fmla="*/ 0 w 3543300"/>
              <a:gd name="connsiteY3" fmla="*/ 4438650 h 4438650"/>
            </a:gdLst>
            <a:ahLst/>
            <a:cxnLst>
              <a:cxn ang="0">
                <a:pos x="connsiteX0" y="connsiteY0"/>
              </a:cxn>
              <a:cxn ang="0">
                <a:pos x="connsiteX1" y="connsiteY1"/>
              </a:cxn>
              <a:cxn ang="0">
                <a:pos x="connsiteX2" y="connsiteY2"/>
              </a:cxn>
              <a:cxn ang="0">
                <a:pos x="connsiteX3" y="connsiteY3"/>
              </a:cxn>
            </a:cxnLst>
            <a:rect l="l" t="t" r="r" b="b"/>
            <a:pathLst>
              <a:path w="3543300" h="4438650">
                <a:moveTo>
                  <a:pt x="0" y="0"/>
                </a:moveTo>
                <a:lnTo>
                  <a:pt x="3543300" y="0"/>
                </a:lnTo>
                <a:lnTo>
                  <a:pt x="3543300" y="4438650"/>
                </a:lnTo>
                <a:lnTo>
                  <a:pt x="0" y="443865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7129742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1B39A6-081B-4A1B-983B-D9D35EA45474}"/>
              </a:ext>
            </a:extLst>
          </p:cNvPr>
          <p:cNvSpPr/>
          <p:nvPr userDrawn="1"/>
        </p:nvSpPr>
        <p:spPr>
          <a:xfrm>
            <a:off x="6915150" y="0"/>
            <a:ext cx="52768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5F9AFB5D-4B73-4340-939D-68662F392B21}"/>
              </a:ext>
            </a:extLst>
          </p:cNvPr>
          <p:cNvSpPr>
            <a:spLocks noGrp="1"/>
          </p:cNvSpPr>
          <p:nvPr>
            <p:ph type="pic" sz="quarter" idx="10"/>
          </p:nvPr>
        </p:nvSpPr>
        <p:spPr>
          <a:xfrm>
            <a:off x="7896224" y="779146"/>
            <a:ext cx="3476625" cy="6078854"/>
          </a:xfrm>
          <a:custGeom>
            <a:avLst/>
            <a:gdLst>
              <a:gd name="connsiteX0" fmla="*/ 0 w 3476625"/>
              <a:gd name="connsiteY0" fmla="*/ 0 h 6078854"/>
              <a:gd name="connsiteX1" fmla="*/ 3476625 w 3476625"/>
              <a:gd name="connsiteY1" fmla="*/ 0 h 6078854"/>
              <a:gd name="connsiteX2" fmla="*/ 3476625 w 3476625"/>
              <a:gd name="connsiteY2" fmla="*/ 6078854 h 6078854"/>
              <a:gd name="connsiteX3" fmla="*/ 0 w 3476625"/>
              <a:gd name="connsiteY3" fmla="*/ 6078854 h 6078854"/>
            </a:gdLst>
            <a:ahLst/>
            <a:cxnLst>
              <a:cxn ang="0">
                <a:pos x="connsiteX0" y="connsiteY0"/>
              </a:cxn>
              <a:cxn ang="0">
                <a:pos x="connsiteX1" y="connsiteY1"/>
              </a:cxn>
              <a:cxn ang="0">
                <a:pos x="connsiteX2" y="connsiteY2"/>
              </a:cxn>
              <a:cxn ang="0">
                <a:pos x="connsiteX3" y="connsiteY3"/>
              </a:cxn>
            </a:cxnLst>
            <a:rect l="l" t="t" r="r" b="b"/>
            <a:pathLst>
              <a:path w="3476625" h="6078854">
                <a:moveTo>
                  <a:pt x="0" y="0"/>
                </a:moveTo>
                <a:lnTo>
                  <a:pt x="3476625" y="0"/>
                </a:lnTo>
                <a:lnTo>
                  <a:pt x="3476625" y="6078854"/>
                </a:lnTo>
                <a:lnTo>
                  <a:pt x="0" y="6078854"/>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7534034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37F18C-A63D-4E2E-8BBD-968C63B31693}"/>
              </a:ext>
            </a:extLst>
          </p:cNvPr>
          <p:cNvSpPr/>
          <p:nvPr userDrawn="1"/>
        </p:nvSpPr>
        <p:spPr>
          <a:xfrm>
            <a:off x="0" y="0"/>
            <a:ext cx="3486150" cy="523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FB285D78-C798-4CFA-9F6D-01831E8E8D77}"/>
              </a:ext>
            </a:extLst>
          </p:cNvPr>
          <p:cNvSpPr>
            <a:spLocks noGrp="1"/>
          </p:cNvSpPr>
          <p:nvPr>
            <p:ph type="pic" sz="quarter" idx="10"/>
          </p:nvPr>
        </p:nvSpPr>
        <p:spPr>
          <a:xfrm>
            <a:off x="1762124" y="3428999"/>
            <a:ext cx="5248275" cy="3429000"/>
          </a:xfrm>
          <a:custGeom>
            <a:avLst/>
            <a:gdLst>
              <a:gd name="connsiteX0" fmla="*/ 0 w 5248275"/>
              <a:gd name="connsiteY0" fmla="*/ 0 h 3429000"/>
              <a:gd name="connsiteX1" fmla="*/ 5248275 w 5248275"/>
              <a:gd name="connsiteY1" fmla="*/ 0 h 3429000"/>
              <a:gd name="connsiteX2" fmla="*/ 5248275 w 5248275"/>
              <a:gd name="connsiteY2" fmla="*/ 3429000 h 3429000"/>
              <a:gd name="connsiteX3" fmla="*/ 0 w 5248275"/>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5248275" h="3429000">
                <a:moveTo>
                  <a:pt x="0" y="0"/>
                </a:moveTo>
                <a:lnTo>
                  <a:pt x="5248275" y="0"/>
                </a:lnTo>
                <a:lnTo>
                  <a:pt x="5248275" y="3429000"/>
                </a:lnTo>
                <a:lnTo>
                  <a:pt x="0" y="3429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2734137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772ADD8-A830-4F5B-9055-C7E94B999C69}"/>
              </a:ext>
            </a:extLst>
          </p:cNvPr>
          <p:cNvSpPr>
            <a:spLocks noGrp="1"/>
          </p:cNvSpPr>
          <p:nvPr>
            <p:ph type="pic" sz="quarter" idx="10"/>
          </p:nvPr>
        </p:nvSpPr>
        <p:spPr>
          <a:xfrm>
            <a:off x="-1" y="3429000"/>
            <a:ext cx="5245100" cy="3429000"/>
          </a:xfrm>
          <a:custGeom>
            <a:avLst/>
            <a:gdLst>
              <a:gd name="connsiteX0" fmla="*/ 0 w 5245100"/>
              <a:gd name="connsiteY0" fmla="*/ 0 h 3429000"/>
              <a:gd name="connsiteX1" fmla="*/ 5245100 w 5245100"/>
              <a:gd name="connsiteY1" fmla="*/ 0 h 3429000"/>
              <a:gd name="connsiteX2" fmla="*/ 5245100 w 5245100"/>
              <a:gd name="connsiteY2" fmla="*/ 3429000 h 3429000"/>
              <a:gd name="connsiteX3" fmla="*/ 0 w 5245100"/>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5245100" h="3429000">
                <a:moveTo>
                  <a:pt x="0" y="0"/>
                </a:moveTo>
                <a:lnTo>
                  <a:pt x="5245100" y="0"/>
                </a:lnTo>
                <a:lnTo>
                  <a:pt x="5245100" y="3429000"/>
                </a:lnTo>
                <a:lnTo>
                  <a:pt x="0" y="3429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958080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21B533-F657-4D57-8ABA-45B5D603304D}"/>
              </a:ext>
            </a:extLst>
          </p:cNvPr>
          <p:cNvSpPr/>
          <p:nvPr userDrawn="1"/>
        </p:nvSpPr>
        <p:spPr>
          <a:xfrm>
            <a:off x="0" y="0"/>
            <a:ext cx="27051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Picture Placeholder 6">
            <a:extLst>
              <a:ext uri="{FF2B5EF4-FFF2-40B4-BE49-F238E27FC236}">
                <a16:creationId xmlns:a16="http://schemas.microsoft.com/office/drawing/2014/main" id="{5200EF84-40D2-4DBD-82DF-B9F526900B1B}"/>
              </a:ext>
            </a:extLst>
          </p:cNvPr>
          <p:cNvSpPr>
            <a:spLocks noGrp="1"/>
          </p:cNvSpPr>
          <p:nvPr>
            <p:ph type="pic" sz="quarter" idx="10"/>
          </p:nvPr>
        </p:nvSpPr>
        <p:spPr>
          <a:xfrm>
            <a:off x="838202" y="-1"/>
            <a:ext cx="3467101" cy="3307104"/>
          </a:xfrm>
          <a:custGeom>
            <a:avLst/>
            <a:gdLst>
              <a:gd name="connsiteX0" fmla="*/ 0 w 3467101"/>
              <a:gd name="connsiteY0" fmla="*/ 0 h 3307104"/>
              <a:gd name="connsiteX1" fmla="*/ 3467101 w 3467101"/>
              <a:gd name="connsiteY1" fmla="*/ 0 h 3307104"/>
              <a:gd name="connsiteX2" fmla="*/ 3467101 w 3467101"/>
              <a:gd name="connsiteY2" fmla="*/ 3307104 h 3307104"/>
              <a:gd name="connsiteX3" fmla="*/ 0 w 3467101"/>
              <a:gd name="connsiteY3" fmla="*/ 3307104 h 3307104"/>
            </a:gdLst>
            <a:ahLst/>
            <a:cxnLst>
              <a:cxn ang="0">
                <a:pos x="connsiteX0" y="connsiteY0"/>
              </a:cxn>
              <a:cxn ang="0">
                <a:pos x="connsiteX1" y="connsiteY1"/>
              </a:cxn>
              <a:cxn ang="0">
                <a:pos x="connsiteX2" y="connsiteY2"/>
              </a:cxn>
              <a:cxn ang="0">
                <a:pos x="connsiteX3" y="connsiteY3"/>
              </a:cxn>
            </a:cxnLst>
            <a:rect l="l" t="t" r="r" b="b"/>
            <a:pathLst>
              <a:path w="3467101" h="3307104">
                <a:moveTo>
                  <a:pt x="0" y="0"/>
                </a:moveTo>
                <a:lnTo>
                  <a:pt x="3467101" y="0"/>
                </a:lnTo>
                <a:lnTo>
                  <a:pt x="3467101" y="3307104"/>
                </a:lnTo>
                <a:lnTo>
                  <a:pt x="0" y="3307104"/>
                </a:lnTo>
                <a:close/>
              </a:path>
            </a:pathLst>
          </a:custGeom>
          <a:solidFill>
            <a:schemeClr val="bg1">
              <a:lumMod val="65000"/>
            </a:schemeClr>
          </a:solidFill>
        </p:spPr>
        <p:txBody>
          <a:bodyPr wrap="square">
            <a:noAutofit/>
          </a:bodyPr>
          <a:lstStyle/>
          <a:p>
            <a:endParaRPr lang="en-US"/>
          </a:p>
        </p:txBody>
      </p:sp>
      <p:sp>
        <p:nvSpPr>
          <p:cNvPr id="10" name="Picture Placeholder 9">
            <a:extLst>
              <a:ext uri="{FF2B5EF4-FFF2-40B4-BE49-F238E27FC236}">
                <a16:creationId xmlns:a16="http://schemas.microsoft.com/office/drawing/2014/main" id="{416F822C-99CF-4A87-B17C-4BFD480E7253}"/>
              </a:ext>
            </a:extLst>
          </p:cNvPr>
          <p:cNvSpPr>
            <a:spLocks noGrp="1"/>
          </p:cNvSpPr>
          <p:nvPr>
            <p:ph type="pic" sz="quarter" idx="11"/>
          </p:nvPr>
        </p:nvSpPr>
        <p:spPr>
          <a:xfrm>
            <a:off x="838202" y="3550895"/>
            <a:ext cx="3467101" cy="3307104"/>
          </a:xfrm>
          <a:custGeom>
            <a:avLst/>
            <a:gdLst>
              <a:gd name="connsiteX0" fmla="*/ 0 w 3467101"/>
              <a:gd name="connsiteY0" fmla="*/ 0 h 3307104"/>
              <a:gd name="connsiteX1" fmla="*/ 3467101 w 3467101"/>
              <a:gd name="connsiteY1" fmla="*/ 0 h 3307104"/>
              <a:gd name="connsiteX2" fmla="*/ 3467101 w 3467101"/>
              <a:gd name="connsiteY2" fmla="*/ 3307104 h 3307104"/>
              <a:gd name="connsiteX3" fmla="*/ 0 w 3467101"/>
              <a:gd name="connsiteY3" fmla="*/ 3307104 h 3307104"/>
            </a:gdLst>
            <a:ahLst/>
            <a:cxnLst>
              <a:cxn ang="0">
                <a:pos x="connsiteX0" y="connsiteY0"/>
              </a:cxn>
              <a:cxn ang="0">
                <a:pos x="connsiteX1" y="connsiteY1"/>
              </a:cxn>
              <a:cxn ang="0">
                <a:pos x="connsiteX2" y="connsiteY2"/>
              </a:cxn>
              <a:cxn ang="0">
                <a:pos x="connsiteX3" y="connsiteY3"/>
              </a:cxn>
            </a:cxnLst>
            <a:rect l="l" t="t" r="r" b="b"/>
            <a:pathLst>
              <a:path w="3467101" h="3307104">
                <a:moveTo>
                  <a:pt x="0" y="0"/>
                </a:moveTo>
                <a:lnTo>
                  <a:pt x="3467101" y="0"/>
                </a:lnTo>
                <a:lnTo>
                  <a:pt x="3467101" y="3307104"/>
                </a:lnTo>
                <a:lnTo>
                  <a:pt x="0" y="3307104"/>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3832429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F70D1BE-6663-4D7E-B64E-9D6A1C989E9C}"/>
              </a:ext>
            </a:extLst>
          </p:cNvPr>
          <p:cNvSpPr/>
          <p:nvPr userDrawn="1"/>
        </p:nvSpPr>
        <p:spPr>
          <a:xfrm>
            <a:off x="7817291" y="1"/>
            <a:ext cx="4374711" cy="6857999"/>
          </a:xfrm>
          <a:custGeom>
            <a:avLst/>
            <a:gdLst>
              <a:gd name="connsiteX0" fmla="*/ 2345417 w 4374711"/>
              <a:gd name="connsiteY0" fmla="*/ 0 h 6857999"/>
              <a:gd name="connsiteX1" fmla="*/ 4374711 w 4374711"/>
              <a:gd name="connsiteY1" fmla="*/ 0 h 6857999"/>
              <a:gd name="connsiteX2" fmla="*/ 4374711 w 4374711"/>
              <a:gd name="connsiteY2" fmla="*/ 6857999 h 6857999"/>
              <a:gd name="connsiteX3" fmla="*/ 0 w 4374711"/>
              <a:gd name="connsiteY3" fmla="*/ 6857999 h 6857999"/>
              <a:gd name="connsiteX4" fmla="*/ 2345417 w 4374711"/>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4711" h="6857999">
                <a:moveTo>
                  <a:pt x="2345417" y="0"/>
                </a:moveTo>
                <a:lnTo>
                  <a:pt x="4374711" y="0"/>
                </a:lnTo>
                <a:lnTo>
                  <a:pt x="4374711" y="6857999"/>
                </a:lnTo>
                <a:lnTo>
                  <a:pt x="0" y="6857999"/>
                </a:lnTo>
                <a:lnTo>
                  <a:pt x="234541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Picture Placeholder 5">
            <a:extLst>
              <a:ext uri="{FF2B5EF4-FFF2-40B4-BE49-F238E27FC236}">
                <a16:creationId xmlns:a16="http://schemas.microsoft.com/office/drawing/2014/main" id="{5576B3A6-DE27-41C9-9C32-5E1F26768237}"/>
              </a:ext>
            </a:extLst>
          </p:cNvPr>
          <p:cNvSpPr>
            <a:spLocks noGrp="1"/>
          </p:cNvSpPr>
          <p:nvPr>
            <p:ph type="pic" sz="quarter" idx="10"/>
          </p:nvPr>
        </p:nvSpPr>
        <p:spPr>
          <a:xfrm>
            <a:off x="7876285" y="1260987"/>
            <a:ext cx="3467101" cy="4336026"/>
          </a:xfrm>
          <a:custGeom>
            <a:avLst/>
            <a:gdLst>
              <a:gd name="connsiteX0" fmla="*/ 0 w 3467101"/>
              <a:gd name="connsiteY0" fmla="*/ 0 h 4336026"/>
              <a:gd name="connsiteX1" fmla="*/ 3467101 w 3467101"/>
              <a:gd name="connsiteY1" fmla="*/ 0 h 4336026"/>
              <a:gd name="connsiteX2" fmla="*/ 3467101 w 3467101"/>
              <a:gd name="connsiteY2" fmla="*/ 4336026 h 4336026"/>
              <a:gd name="connsiteX3" fmla="*/ 0 w 3467101"/>
              <a:gd name="connsiteY3" fmla="*/ 4336026 h 4336026"/>
            </a:gdLst>
            <a:ahLst/>
            <a:cxnLst>
              <a:cxn ang="0">
                <a:pos x="connsiteX0" y="connsiteY0"/>
              </a:cxn>
              <a:cxn ang="0">
                <a:pos x="connsiteX1" y="connsiteY1"/>
              </a:cxn>
              <a:cxn ang="0">
                <a:pos x="connsiteX2" y="connsiteY2"/>
              </a:cxn>
              <a:cxn ang="0">
                <a:pos x="connsiteX3" y="connsiteY3"/>
              </a:cxn>
            </a:cxnLst>
            <a:rect l="l" t="t" r="r" b="b"/>
            <a:pathLst>
              <a:path w="3467101" h="4336026">
                <a:moveTo>
                  <a:pt x="0" y="0"/>
                </a:moveTo>
                <a:lnTo>
                  <a:pt x="3467101" y="0"/>
                </a:lnTo>
                <a:lnTo>
                  <a:pt x="3467101" y="4336026"/>
                </a:lnTo>
                <a:lnTo>
                  <a:pt x="0" y="4336026"/>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991570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EB64F0C-C5D1-466F-B3D8-822E4395C228}"/>
              </a:ext>
            </a:extLst>
          </p:cNvPr>
          <p:cNvSpPr>
            <a:spLocks noGrp="1"/>
          </p:cNvSpPr>
          <p:nvPr>
            <p:ph type="pic" sz="quarter" idx="10"/>
          </p:nvPr>
        </p:nvSpPr>
        <p:spPr>
          <a:xfrm>
            <a:off x="4324349" y="-1"/>
            <a:ext cx="3543302" cy="6858000"/>
          </a:xfrm>
          <a:custGeom>
            <a:avLst/>
            <a:gdLst>
              <a:gd name="connsiteX0" fmla="*/ 0 w 3543302"/>
              <a:gd name="connsiteY0" fmla="*/ 0 h 6858000"/>
              <a:gd name="connsiteX1" fmla="*/ 3543302 w 3543302"/>
              <a:gd name="connsiteY1" fmla="*/ 0 h 6858000"/>
              <a:gd name="connsiteX2" fmla="*/ 3543302 w 3543302"/>
              <a:gd name="connsiteY2" fmla="*/ 6858000 h 6858000"/>
              <a:gd name="connsiteX3" fmla="*/ 0 w 35433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43302" h="6858000">
                <a:moveTo>
                  <a:pt x="0" y="0"/>
                </a:moveTo>
                <a:lnTo>
                  <a:pt x="3543302" y="0"/>
                </a:lnTo>
                <a:lnTo>
                  <a:pt x="3543302" y="6858000"/>
                </a:lnTo>
                <a:lnTo>
                  <a:pt x="0" y="6858000"/>
                </a:lnTo>
                <a:close/>
              </a:path>
            </a:pathLst>
          </a:custGeom>
          <a:solidFill>
            <a:schemeClr val="bg1">
              <a:lumMod val="65000"/>
            </a:schemeClr>
          </a:solidFill>
        </p:spPr>
        <p:txBody>
          <a:bodyPr wrap="square">
            <a:noAutofit/>
          </a:bodyPr>
          <a:lstStyle/>
          <a:p>
            <a:endParaRPr lang="en-US"/>
          </a:p>
        </p:txBody>
      </p:sp>
    </p:spTree>
    <p:extLst>
      <p:ext uri="{BB962C8B-B14F-4D97-AF65-F5344CB8AC3E}">
        <p14:creationId xmlns:p14="http://schemas.microsoft.com/office/powerpoint/2010/main" val="911717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AD0B5F-C216-6D62-4FD2-AA65BCA1E35D}"/>
              </a:ext>
            </a:extLst>
          </p:cNvPr>
          <p:cNvSpPr txBox="1"/>
          <p:nvPr userDrawn="1"/>
        </p:nvSpPr>
        <p:spPr>
          <a:xfrm>
            <a:off x="10008067" y="328549"/>
            <a:ext cx="1466500" cy="246221"/>
          </a:xfrm>
          <a:prstGeom prst="rect">
            <a:avLst/>
          </a:prstGeom>
          <a:noFill/>
        </p:spPr>
        <p:txBody>
          <a:bodyPr wrap="square" rtlCol="0">
            <a:spAutoFit/>
          </a:bodyPr>
          <a:lstStyle/>
          <a:p>
            <a:pPr algn="r"/>
            <a:r>
              <a:rPr lang="en-GB" sz="1000" b="1">
                <a:solidFill>
                  <a:schemeClr val="accent6">
                    <a:lumMod val="60000"/>
                    <a:lumOff val="40000"/>
                  </a:schemeClr>
                </a:solidFill>
                <a:latin typeface="Montserrat" panose="00000500000000000000" pitchFamily="2" charset="0"/>
              </a:rPr>
              <a:t>MSECB Webinar</a:t>
            </a:r>
            <a:endParaRPr lang="en-ID" sz="1000" b="1">
              <a:solidFill>
                <a:schemeClr val="accent6">
                  <a:lumMod val="60000"/>
                  <a:lumOff val="40000"/>
                </a:schemeClr>
              </a:solidFill>
              <a:latin typeface="Montserrat" panose="00000500000000000000" pitchFamily="2" charset="0"/>
            </a:endParaRPr>
          </a:p>
        </p:txBody>
      </p:sp>
      <p:sp>
        <p:nvSpPr>
          <p:cNvPr id="3" name="Circle: Hollow 2">
            <a:extLst>
              <a:ext uri="{FF2B5EF4-FFF2-40B4-BE49-F238E27FC236}">
                <a16:creationId xmlns:a16="http://schemas.microsoft.com/office/drawing/2014/main" id="{EBA57CF0-B941-6EB5-016C-B1A804D15119}"/>
              </a:ext>
            </a:extLst>
          </p:cNvPr>
          <p:cNvSpPr/>
          <p:nvPr userDrawn="1"/>
        </p:nvSpPr>
        <p:spPr>
          <a:xfrm>
            <a:off x="10091933" y="386345"/>
            <a:ext cx="130628" cy="130628"/>
          </a:xfrm>
          <a:prstGeom prst="donut">
            <a:avLst>
              <a:gd name="adj" fmla="val 2195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pic>
        <p:nvPicPr>
          <p:cNvPr id="4" name="Graphic 3">
            <a:extLst>
              <a:ext uri="{FF2B5EF4-FFF2-40B4-BE49-F238E27FC236}">
                <a16:creationId xmlns:a16="http://schemas.microsoft.com/office/drawing/2014/main" id="{CA803912-9F7B-DAE4-2857-DA20A2A1E32A}"/>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876300" y="353420"/>
            <a:ext cx="982390" cy="196478"/>
          </a:xfrm>
          <a:prstGeom prst="rect">
            <a:avLst/>
          </a:prstGeom>
        </p:spPr>
      </p:pic>
    </p:spTree>
    <p:extLst>
      <p:ext uri="{BB962C8B-B14F-4D97-AF65-F5344CB8AC3E}">
        <p14:creationId xmlns:p14="http://schemas.microsoft.com/office/powerpoint/2010/main" val="5761282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60" r:id="rId6"/>
    <p:sldLayoutId id="2147483654" r:id="rId7"/>
    <p:sldLayoutId id="2147483655" r:id="rId8"/>
    <p:sldLayoutId id="2147483656" r:id="rId9"/>
    <p:sldLayoutId id="2147483661" r:id="rId10"/>
    <p:sldLayoutId id="2147483657" r:id="rId11"/>
    <p:sldLayoutId id="2147483658" r:id="rId12"/>
    <p:sldLayoutId id="2147483662" r:id="rId13"/>
    <p:sldLayoutId id="2147483663" r:id="rId14"/>
    <p:sldLayoutId id="2147483664" r:id="rId15"/>
    <p:sldLayoutId id="2147483659"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5.sv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Layout" Target="../slideLayouts/slideLayout24.xml"/><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7.sv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image" Target="../media/image7.sv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Layout" Target="../slideLayouts/slideLayout24.xml"/><Relationship Id="rId4" Type="http://schemas.openxmlformats.org/officeDocument/2006/relationships/image" Target="../media/image5.svg"/></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xml"/><Relationship Id="rId7"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7.sv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Layout" Target="../slideLayouts/slideLayout1.xml"/><Relationship Id="rId4" Type="http://schemas.openxmlformats.org/officeDocument/2006/relationships/image" Target="../media/image7.svg"/></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eg"/><Relationship Id="rId1" Type="http://schemas.openxmlformats.org/officeDocument/2006/relationships/slideLayout" Target="../slideLayouts/slideLayout24.xml"/><Relationship Id="rId4" Type="http://schemas.openxmlformats.org/officeDocument/2006/relationships/image" Target="../media/image7.svg"/></Relationships>
</file>

<file path=ppt/slides/_rels/slide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www.linkedin.com/company/MSECB/" TargetMode="External"/><Relationship Id="rId7" Type="http://schemas.openxmlformats.org/officeDocument/2006/relationships/hyperlink" Target="mailto:info@msecb.com" TargetMode="External"/><Relationship Id="rId2" Type="http://schemas.openxmlformats.org/officeDocument/2006/relationships/notesSlide" Target="../notesSlides/notesSlide11.xml"/><Relationship Id="rId1" Type="http://schemas.openxmlformats.org/officeDocument/2006/relationships/slideLayout" Target="../slideLayouts/slideLayout27.xml"/><Relationship Id="rId6" Type="http://schemas.openxmlformats.org/officeDocument/2006/relationships/image" Target="../media/image27.png"/><Relationship Id="rId5" Type="http://schemas.openxmlformats.org/officeDocument/2006/relationships/hyperlink" Target="https://www.facebook.com/MSECB.Inc/" TargetMode="Externa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Layout" Target="../slideLayouts/slideLayout24.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7.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7.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image" Target="../media/image7.sv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5.xml"/><Relationship Id="rId5" Type="http://schemas.openxmlformats.org/officeDocument/2006/relationships/image" Target="../media/image10.png"/><Relationship Id="rId4" Type="http://schemas.openxmlformats.org/officeDocument/2006/relationships/image" Target="../media/image7.sv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1AC8F4-0926-FBB7-9544-174675447C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30017"/>
            <a:ext cx="12230085" cy="8154140"/>
          </a:xfrm>
          <a:prstGeom prst="rect">
            <a:avLst/>
          </a:prstGeom>
        </p:spPr>
      </p:pic>
      <p:sp>
        <p:nvSpPr>
          <p:cNvPr id="11" name="Rectangle 10">
            <a:extLst>
              <a:ext uri="{FF2B5EF4-FFF2-40B4-BE49-F238E27FC236}">
                <a16:creationId xmlns:a16="http://schemas.microsoft.com/office/drawing/2014/main" id="{FD6B852F-A08D-F600-B495-82FE565A49C9}"/>
              </a:ext>
            </a:extLst>
          </p:cNvPr>
          <p:cNvSpPr/>
          <p:nvPr/>
        </p:nvSpPr>
        <p:spPr>
          <a:xfrm>
            <a:off x="0" y="-90435"/>
            <a:ext cx="12230085" cy="6948436"/>
          </a:xfrm>
          <a:prstGeom prst="rect">
            <a:avLst/>
          </a:prstGeom>
          <a:gradFill flip="none" rotWithShape="1">
            <a:gsLst>
              <a:gs pos="0">
                <a:schemeClr val="tx1">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F1BA98F5-FB0E-483C-9755-9C0CEB604EDD}"/>
              </a:ext>
            </a:extLst>
          </p:cNvPr>
          <p:cNvSpPr txBox="1"/>
          <p:nvPr/>
        </p:nvSpPr>
        <p:spPr>
          <a:xfrm>
            <a:off x="873917" y="3400555"/>
            <a:ext cx="9218016" cy="1938992"/>
          </a:xfrm>
          <a:prstGeom prst="rect">
            <a:avLst/>
          </a:prstGeom>
          <a:noFill/>
        </p:spPr>
        <p:txBody>
          <a:bodyPr wrap="square" rtlCol="0">
            <a:spAutoFit/>
          </a:bodyPr>
          <a:lstStyle/>
          <a:p>
            <a:r>
              <a:rPr lang="en-ID" sz="4000" b="1" dirty="0">
                <a:solidFill>
                  <a:schemeClr val="bg1"/>
                </a:solidFill>
                <a:latin typeface="+mj-lt"/>
              </a:rPr>
              <a:t>ISO 20121 Certification:</a:t>
            </a:r>
          </a:p>
          <a:p>
            <a:r>
              <a:rPr lang="en-US" sz="4000" dirty="0">
                <a:solidFill>
                  <a:schemeClr val="bg1"/>
                </a:solidFill>
                <a:latin typeface="+mj-lt"/>
              </a:rPr>
              <a:t>The Next Step Towards</a:t>
            </a:r>
          </a:p>
          <a:p>
            <a:r>
              <a:rPr lang="en-US" sz="4000" dirty="0">
                <a:solidFill>
                  <a:schemeClr val="bg1"/>
                </a:solidFill>
                <a:latin typeface="+mj-lt"/>
              </a:rPr>
              <a:t>Sustainable Events</a:t>
            </a:r>
            <a:endParaRPr lang="en-ID" sz="4000" dirty="0">
              <a:solidFill>
                <a:schemeClr val="bg1"/>
              </a:solidFill>
              <a:latin typeface="+mj-lt"/>
            </a:endParaRPr>
          </a:p>
        </p:txBody>
      </p:sp>
      <p:sp>
        <p:nvSpPr>
          <p:cNvPr id="7" name="TextBox 6">
            <a:extLst>
              <a:ext uri="{FF2B5EF4-FFF2-40B4-BE49-F238E27FC236}">
                <a16:creationId xmlns:a16="http://schemas.microsoft.com/office/drawing/2014/main" id="{EB869A89-72E8-44EB-A86F-C473D79061CA}"/>
              </a:ext>
            </a:extLst>
          </p:cNvPr>
          <p:cNvSpPr txBox="1"/>
          <p:nvPr/>
        </p:nvSpPr>
        <p:spPr>
          <a:xfrm>
            <a:off x="873918" y="5339547"/>
            <a:ext cx="2579552" cy="400110"/>
          </a:xfrm>
          <a:prstGeom prst="rect">
            <a:avLst/>
          </a:prstGeom>
          <a:noFill/>
        </p:spPr>
        <p:txBody>
          <a:bodyPr wrap="none" rtlCol="0">
            <a:spAutoFit/>
          </a:bodyPr>
          <a:lstStyle/>
          <a:p>
            <a:r>
              <a:rPr lang="en-US" sz="2000" i="1" dirty="0">
                <a:solidFill>
                  <a:schemeClr val="bg1"/>
                </a:solidFill>
                <a:latin typeface="Montserrat" panose="00000500000000000000" pitchFamily="2" charset="0"/>
                <a:ea typeface="Open Sans SemiBold" panose="020B0706030804020204" pitchFamily="34" charset="0"/>
                <a:cs typeface="Open Sans SemiBold" panose="020B0706030804020204" pitchFamily="34" charset="0"/>
              </a:rPr>
              <a:t>By Graeme Parker</a:t>
            </a:r>
            <a:endParaRPr lang="en-ID" sz="2000" i="1" dirty="0">
              <a:solidFill>
                <a:schemeClr val="bg1"/>
              </a:solidFill>
              <a:latin typeface="Montserrat" panose="00000500000000000000" pitchFamily="2" charset="0"/>
              <a:ea typeface="Open Sans SemiBold" panose="020B0706030804020204" pitchFamily="34" charset="0"/>
              <a:cs typeface="Open Sans SemiBold" panose="020B0706030804020204" pitchFamily="34" charset="0"/>
            </a:endParaRPr>
          </a:p>
        </p:txBody>
      </p:sp>
      <p:pic>
        <p:nvPicPr>
          <p:cNvPr id="8" name="Graphic 7">
            <a:extLst>
              <a:ext uri="{FF2B5EF4-FFF2-40B4-BE49-F238E27FC236}">
                <a16:creationId xmlns:a16="http://schemas.microsoft.com/office/drawing/2014/main" id="{A435C986-75C0-030C-8C73-DF2745A3ED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
        <p:nvSpPr>
          <p:cNvPr id="9" name="TextBox 8">
            <a:extLst>
              <a:ext uri="{FF2B5EF4-FFF2-40B4-BE49-F238E27FC236}">
                <a16:creationId xmlns:a16="http://schemas.microsoft.com/office/drawing/2014/main" id="{62090132-2DF2-0B2C-7CB8-88101A391DFD}"/>
              </a:ext>
            </a:extLst>
          </p:cNvPr>
          <p:cNvSpPr txBox="1"/>
          <p:nvPr/>
        </p:nvSpPr>
        <p:spPr>
          <a:xfrm>
            <a:off x="10008067" y="315767"/>
            <a:ext cx="1466500" cy="246221"/>
          </a:xfrm>
          <a:prstGeom prst="rect">
            <a:avLst/>
          </a:prstGeom>
          <a:noFill/>
        </p:spPr>
        <p:txBody>
          <a:bodyPr wrap="square" rtlCol="0">
            <a:spAutoFit/>
          </a:bodyPr>
          <a:lstStyle/>
          <a:p>
            <a:pPr algn="r"/>
            <a:r>
              <a:rPr lang="en-GB" sz="1000" b="1" dirty="0">
                <a:solidFill>
                  <a:schemeClr val="bg1"/>
                </a:solidFill>
                <a:latin typeface="Montserrat" panose="00000500000000000000" pitchFamily="2" charset="0"/>
              </a:rPr>
              <a:t>MSECB Webinar</a:t>
            </a:r>
            <a:endParaRPr lang="en-ID" sz="1000" b="1" dirty="0">
              <a:solidFill>
                <a:schemeClr val="bg1"/>
              </a:solidFill>
              <a:latin typeface="Montserrat" panose="00000500000000000000" pitchFamily="2" charset="0"/>
            </a:endParaRPr>
          </a:p>
        </p:txBody>
      </p:sp>
      <p:sp>
        <p:nvSpPr>
          <p:cNvPr id="10" name="Circle: Hollow 9">
            <a:extLst>
              <a:ext uri="{FF2B5EF4-FFF2-40B4-BE49-F238E27FC236}">
                <a16:creationId xmlns:a16="http://schemas.microsoft.com/office/drawing/2014/main" id="{A1113D73-8A63-3100-997A-A912B6E8A92E}"/>
              </a:ext>
            </a:extLst>
          </p:cNvPr>
          <p:cNvSpPr/>
          <p:nvPr/>
        </p:nvSpPr>
        <p:spPr>
          <a:xfrm>
            <a:off x="10091933" y="369197"/>
            <a:ext cx="130628" cy="130628"/>
          </a:xfrm>
          <a:prstGeom prst="donut">
            <a:avLst>
              <a:gd name="adj" fmla="val 219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spTree>
    <p:extLst>
      <p:ext uri="{BB962C8B-B14F-4D97-AF65-F5344CB8AC3E}">
        <p14:creationId xmlns:p14="http://schemas.microsoft.com/office/powerpoint/2010/main" val="87660522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0-#ppt_w/2"/>
                                          </p:val>
                                        </p:tav>
                                        <p:tav tm="100000">
                                          <p:val>
                                            <p:strVal val="#ppt_x"/>
                                          </p:val>
                                        </p:tav>
                                      </p:tavLst>
                                    </p:anim>
                                    <p:anim calcmode="lin" valueType="num">
                                      <p:cBhvr additive="base">
                                        <p:cTn id="12" dur="75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3D721E-13B4-0304-3648-D240C122CE2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1242986"/>
            <a:ext cx="12192000" cy="8111872"/>
          </a:xfrm>
          <a:prstGeom prst="rect">
            <a:avLst/>
          </a:prstGeom>
        </p:spPr>
      </p:pic>
      <p:sp>
        <p:nvSpPr>
          <p:cNvPr id="4" name="Rectangle 3">
            <a:extLst>
              <a:ext uri="{FF2B5EF4-FFF2-40B4-BE49-F238E27FC236}">
                <a16:creationId xmlns:a16="http://schemas.microsoft.com/office/drawing/2014/main" id="{255C402D-9764-DC9C-A677-7BEB1C8D5225}"/>
              </a:ext>
            </a:extLst>
          </p:cNvPr>
          <p:cNvSpPr/>
          <p:nvPr/>
        </p:nvSpPr>
        <p:spPr>
          <a:xfrm>
            <a:off x="0" y="838200"/>
            <a:ext cx="12230085" cy="6019801"/>
          </a:xfrm>
          <a:prstGeom prst="rect">
            <a:avLst/>
          </a:prstGeom>
          <a:gradFill flip="none" rotWithShape="1">
            <a:gsLst>
              <a:gs pos="0">
                <a:schemeClr val="tx1">
                  <a:alpha val="0"/>
                </a:schemeClr>
              </a:gs>
              <a:gs pos="100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34DC3C6D-6FD6-43F5-B034-C60170C1DD4D}"/>
              </a:ext>
            </a:extLst>
          </p:cNvPr>
          <p:cNvSpPr txBox="1"/>
          <p:nvPr/>
        </p:nvSpPr>
        <p:spPr>
          <a:xfrm>
            <a:off x="1063862" y="3704047"/>
            <a:ext cx="9616837"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Montserrat"/>
              </a:rPr>
              <a:t>Importance</a:t>
            </a:r>
            <a:r>
              <a:rPr kumimoji="0" lang="en-US" sz="4400" b="1" i="0" u="none" strike="noStrike" kern="1200" cap="none" spc="0" normalizeH="0" noProof="0" dirty="0">
                <a:ln>
                  <a:noFill/>
                </a:ln>
                <a:solidFill>
                  <a:srgbClr val="FFFFFF"/>
                </a:solidFill>
                <a:effectLst/>
                <a:uLnTx/>
                <a:uFillTx/>
                <a:latin typeface="Montserrat"/>
              </a:rPr>
              <a:t> </a:t>
            </a:r>
            <a:r>
              <a:rPr kumimoji="0" lang="en-US" sz="4400" b="1" i="0" u="none" strike="noStrike" kern="1200" cap="none" spc="0" normalizeH="0" baseline="0" noProof="0" dirty="0">
                <a:ln>
                  <a:noFill/>
                </a:ln>
                <a:solidFill>
                  <a:srgbClr val="FFFFFF"/>
                </a:solidFill>
                <a:effectLst/>
                <a:uLnTx/>
                <a:uFillTx/>
                <a:latin typeface="Montserrat"/>
              </a:rPr>
              <a:t>of Event Sustainability</a:t>
            </a:r>
            <a:endParaRPr lang="en-US" sz="4400" b="1" dirty="0">
              <a:solidFill>
                <a:srgbClr val="FFFFFF"/>
              </a:solidFill>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noProof="0" dirty="0">
                <a:ln>
                  <a:noFill/>
                </a:ln>
                <a:solidFill>
                  <a:srgbClr val="FFFFFF"/>
                </a:solidFill>
                <a:effectLst/>
                <a:uLnTx/>
                <a:uFillTx/>
                <a:latin typeface="Montserrat"/>
              </a:rPr>
              <a:t>and its Benefits</a:t>
            </a:r>
            <a:endParaRPr kumimoji="0" lang="en-US" sz="4400" b="1" i="0" u="none" strike="noStrike" kern="1200" cap="none" spc="0" normalizeH="0" baseline="0" noProof="0" dirty="0">
              <a:ln>
                <a:noFill/>
              </a:ln>
              <a:solidFill>
                <a:srgbClr val="FFFFFF"/>
              </a:solidFill>
              <a:effectLst/>
              <a:uLnTx/>
              <a:uFillTx/>
              <a:latin typeface="Montserrat"/>
            </a:endParaRPr>
          </a:p>
        </p:txBody>
      </p:sp>
      <p:sp>
        <p:nvSpPr>
          <p:cNvPr id="8" name="Rectangle 7">
            <a:extLst>
              <a:ext uri="{FF2B5EF4-FFF2-40B4-BE49-F238E27FC236}">
                <a16:creationId xmlns:a16="http://schemas.microsoft.com/office/drawing/2014/main" id="{9A48E439-CFC8-693F-CF31-D6D5F01FC8EC}"/>
              </a:ext>
            </a:extLst>
          </p:cNvPr>
          <p:cNvSpPr/>
          <p:nvPr/>
        </p:nvSpPr>
        <p:spPr>
          <a:xfrm>
            <a:off x="873919" y="3770930"/>
            <a:ext cx="86202" cy="30979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3" name="Graphic 2">
            <a:extLst>
              <a:ext uri="{FF2B5EF4-FFF2-40B4-BE49-F238E27FC236}">
                <a16:creationId xmlns:a16="http://schemas.microsoft.com/office/drawing/2014/main" id="{9DEA8876-B510-9187-27D1-5D5F5F39AE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Tree>
    <p:extLst>
      <p:ext uri="{BB962C8B-B14F-4D97-AF65-F5344CB8AC3E}">
        <p14:creationId xmlns:p14="http://schemas.microsoft.com/office/powerpoint/2010/main" val="1431337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9D30D053-D0E9-44FB-8AE6-0F71A690D06D}"/>
              </a:ext>
            </a:extLst>
          </p:cNvPr>
          <p:cNvSpPr txBox="1"/>
          <p:nvPr/>
        </p:nvSpPr>
        <p:spPr>
          <a:xfrm>
            <a:off x="10459393" y="5610474"/>
            <a:ext cx="83505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ontserrat"/>
                <a:ea typeface="+mn-ea"/>
                <a:cs typeface="+mn-cs"/>
              </a:rPr>
              <a:t>Page </a:t>
            </a:r>
            <a:fld id="{31162368-E213-4388-85D6-4D6322C03159}" type="slidenum">
              <a:rPr kumimoji="0" lang="en-GB" sz="1100" b="1" i="0" u="none" strike="noStrike" kern="1200" cap="none" spc="0" normalizeH="0" baseline="0" noProof="0" smtClean="0">
                <a:ln>
                  <a:noFill/>
                </a:ln>
                <a:solidFill>
                  <a:srgbClr val="FFFFFF"/>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D" sz="1100" b="1" i="0" u="none" strike="noStrike" kern="1200" cap="none" spc="0" normalizeH="0" baseline="0" noProof="0">
              <a:ln>
                <a:noFill/>
              </a:ln>
              <a:solidFill>
                <a:srgbClr val="FFFFFF"/>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4405204" y="1838240"/>
            <a:ext cx="675001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01619"/>
                </a:solidFill>
                <a:effectLst/>
                <a:uLnTx/>
                <a:uFillTx/>
                <a:latin typeface="Montserrat"/>
                <a:ea typeface="+mn-ea"/>
                <a:cs typeface="+mn-cs"/>
              </a:rPr>
              <a:t>Importance</a:t>
            </a:r>
            <a:endParaRPr kumimoji="0" lang="en-ID" sz="2800" b="1" i="0" u="none" strike="noStrike" kern="1200" cap="none" spc="0" normalizeH="0" baseline="0" noProof="0">
              <a:ln>
                <a:noFill/>
              </a:ln>
              <a:solidFill>
                <a:srgbClr val="801619"/>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4400827" y="2361460"/>
            <a:ext cx="6893625" cy="3113160"/>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r>
              <a:rPr lang="en-US" sz="1200" dirty="0">
                <a:solidFill>
                  <a:schemeClr val="tx1"/>
                </a:solidFill>
              </a:rPr>
              <a:t>Events of all kinds can take a heavy toll on resources, society, and the environment, often generating significant waste. </a:t>
            </a:r>
          </a:p>
          <a:p>
            <a:endParaRPr lang="en-US" sz="1200" dirty="0">
              <a:solidFill>
                <a:schemeClr val="tx1"/>
              </a:solidFill>
            </a:endParaRPr>
          </a:p>
          <a:p>
            <a:r>
              <a:rPr lang="en-US" sz="1200" dirty="0">
                <a:solidFill>
                  <a:schemeClr val="tx1"/>
                </a:solidFill>
              </a:rPr>
              <a:t>With the world recovering from the COVID-19 pandemic and the resumption of many events, a real opportunity has arisen for event organizers to demonstrate their commitment to sustainability through the application of a well-established and recognized standard such as ISO 20121.</a:t>
            </a:r>
          </a:p>
          <a:p>
            <a:endParaRPr lang="en-US" sz="1200" dirty="0">
              <a:solidFill>
                <a:schemeClr val="tx1"/>
              </a:solidFill>
            </a:endParaRPr>
          </a:p>
          <a:p>
            <a:r>
              <a:rPr lang="en-US" sz="1200" dirty="0">
                <a:solidFill>
                  <a:schemeClr val="tx1"/>
                </a:solidFill>
              </a:rPr>
              <a:t>In addition, more and more customers are taking a specific interest in sustainability and looking for assurances on multiple issu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Poppins" panose="00000500000000000000" pitchFamily="2" charset="0"/>
            </a:endParaRP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grpSp>
        <p:nvGrpSpPr>
          <p:cNvPr id="4" name="Group 313">
            <a:extLst>
              <a:ext uri="{FF2B5EF4-FFF2-40B4-BE49-F238E27FC236}">
                <a16:creationId xmlns:a16="http://schemas.microsoft.com/office/drawing/2014/main" id="{9E367B5E-64F7-FF79-C658-3BB9D131968F}"/>
              </a:ext>
            </a:extLst>
          </p:cNvPr>
          <p:cNvGrpSpPr>
            <a:grpSpLocks noChangeAspect="1"/>
          </p:cNvGrpSpPr>
          <p:nvPr/>
        </p:nvGrpSpPr>
        <p:grpSpPr bwMode="auto">
          <a:xfrm>
            <a:off x="719412" y="2361460"/>
            <a:ext cx="2606771" cy="2589568"/>
            <a:chOff x="3699" y="2381"/>
            <a:chExt cx="303" cy="301"/>
          </a:xfrm>
          <a:solidFill>
            <a:schemeClr val="accent1">
              <a:lumMod val="60000"/>
              <a:lumOff val="40000"/>
            </a:schemeClr>
          </a:solidFill>
        </p:grpSpPr>
        <p:sp>
          <p:nvSpPr>
            <p:cNvPr id="5" name="Freeform 315">
              <a:extLst>
                <a:ext uri="{FF2B5EF4-FFF2-40B4-BE49-F238E27FC236}">
                  <a16:creationId xmlns:a16="http://schemas.microsoft.com/office/drawing/2014/main" id="{F9648506-459D-D2EE-800C-7EDD181B5EF9}"/>
                </a:ext>
              </a:extLst>
            </p:cNvPr>
            <p:cNvSpPr>
              <a:spLocks/>
            </p:cNvSpPr>
            <p:nvPr/>
          </p:nvSpPr>
          <p:spPr bwMode="auto">
            <a:xfrm>
              <a:off x="3699" y="2381"/>
              <a:ext cx="199" cy="301"/>
            </a:xfrm>
            <a:custGeom>
              <a:avLst/>
              <a:gdLst>
                <a:gd name="T0" fmla="*/ 2044 w 2194"/>
                <a:gd name="T1" fmla="*/ 0 h 3308"/>
                <a:gd name="T2" fmla="*/ 2102 w 2194"/>
                <a:gd name="T3" fmla="*/ 12 h 3308"/>
                <a:gd name="T4" fmla="*/ 2150 w 2194"/>
                <a:gd name="T5" fmla="*/ 44 h 3308"/>
                <a:gd name="T6" fmla="*/ 2183 w 2194"/>
                <a:gd name="T7" fmla="*/ 92 h 3308"/>
                <a:gd name="T8" fmla="*/ 2194 w 2194"/>
                <a:gd name="T9" fmla="*/ 150 h 3308"/>
                <a:gd name="T10" fmla="*/ 2185 w 2194"/>
                <a:gd name="T11" fmla="*/ 203 h 3308"/>
                <a:gd name="T12" fmla="*/ 2159 w 2194"/>
                <a:gd name="T13" fmla="*/ 247 h 3308"/>
                <a:gd name="T14" fmla="*/ 2119 w 2194"/>
                <a:gd name="T15" fmla="*/ 280 h 3308"/>
                <a:gd name="T16" fmla="*/ 1968 w 2194"/>
                <a:gd name="T17" fmla="*/ 933 h 3308"/>
                <a:gd name="T18" fmla="*/ 227 w 2194"/>
                <a:gd name="T19" fmla="*/ 301 h 3308"/>
                <a:gd name="T20" fmla="*/ 1968 w 2194"/>
                <a:gd name="T21" fmla="*/ 1955 h 3308"/>
                <a:gd name="T22" fmla="*/ 2119 w 2194"/>
                <a:gd name="T23" fmla="*/ 1580 h 3308"/>
                <a:gd name="T24" fmla="*/ 2117 w 2194"/>
                <a:gd name="T25" fmla="*/ 2050 h 3308"/>
                <a:gd name="T26" fmla="*/ 2097 w 2194"/>
                <a:gd name="T27" fmla="*/ 2084 h 3308"/>
                <a:gd name="T28" fmla="*/ 2064 w 2194"/>
                <a:gd name="T29" fmla="*/ 2102 h 3308"/>
                <a:gd name="T30" fmla="*/ 1578 w 2194"/>
                <a:gd name="T31" fmla="*/ 2105 h 3308"/>
                <a:gd name="T32" fmla="*/ 1854 w 2194"/>
                <a:gd name="T33" fmla="*/ 3145 h 3308"/>
                <a:gd name="T34" fmla="*/ 1849 w 2194"/>
                <a:gd name="T35" fmla="*/ 3197 h 3308"/>
                <a:gd name="T36" fmla="*/ 1827 w 2194"/>
                <a:gd name="T37" fmla="*/ 3244 h 3308"/>
                <a:gd name="T38" fmla="*/ 1790 w 2194"/>
                <a:gd name="T39" fmla="*/ 3281 h 3308"/>
                <a:gd name="T40" fmla="*/ 1742 w 2194"/>
                <a:gd name="T41" fmla="*/ 3302 h 3308"/>
                <a:gd name="T42" fmla="*/ 1703 w 2194"/>
                <a:gd name="T43" fmla="*/ 3308 h 3308"/>
                <a:gd name="T44" fmla="*/ 1648 w 2194"/>
                <a:gd name="T45" fmla="*/ 3298 h 3308"/>
                <a:gd name="T46" fmla="*/ 1601 w 2194"/>
                <a:gd name="T47" fmla="*/ 3269 h 3308"/>
                <a:gd name="T48" fmla="*/ 1567 w 2194"/>
                <a:gd name="T49" fmla="*/ 3223 h 3308"/>
                <a:gd name="T50" fmla="*/ 1264 w 2194"/>
                <a:gd name="T51" fmla="*/ 2105 h 3308"/>
                <a:gd name="T52" fmla="*/ 639 w 2194"/>
                <a:gd name="T53" fmla="*/ 3196 h 3308"/>
                <a:gd name="T54" fmla="*/ 613 w 2194"/>
                <a:gd name="T55" fmla="*/ 3248 h 3308"/>
                <a:gd name="T56" fmla="*/ 573 w 2194"/>
                <a:gd name="T57" fmla="*/ 3286 h 3308"/>
                <a:gd name="T58" fmla="*/ 520 w 2194"/>
                <a:gd name="T59" fmla="*/ 3306 h 3308"/>
                <a:gd name="T60" fmla="*/ 473 w 2194"/>
                <a:gd name="T61" fmla="*/ 3307 h 3308"/>
                <a:gd name="T62" fmla="*/ 427 w 2194"/>
                <a:gd name="T63" fmla="*/ 3294 h 3308"/>
                <a:gd name="T64" fmla="*/ 384 w 2194"/>
                <a:gd name="T65" fmla="*/ 3264 h 3308"/>
                <a:gd name="T66" fmla="*/ 355 w 2194"/>
                <a:gd name="T67" fmla="*/ 3221 h 3308"/>
                <a:gd name="T68" fmla="*/ 341 w 2194"/>
                <a:gd name="T69" fmla="*/ 3172 h 3308"/>
                <a:gd name="T70" fmla="*/ 345 w 2194"/>
                <a:gd name="T71" fmla="*/ 3118 h 3308"/>
                <a:gd name="T72" fmla="*/ 152 w 2194"/>
                <a:gd name="T73" fmla="*/ 2105 h 3308"/>
                <a:gd name="T74" fmla="*/ 113 w 2194"/>
                <a:gd name="T75" fmla="*/ 2095 h 3308"/>
                <a:gd name="T76" fmla="*/ 87 w 2194"/>
                <a:gd name="T77" fmla="*/ 2068 h 3308"/>
                <a:gd name="T78" fmla="*/ 76 w 2194"/>
                <a:gd name="T79" fmla="*/ 2030 h 3308"/>
                <a:gd name="T80" fmla="*/ 54 w 2194"/>
                <a:gd name="T81" fmla="*/ 266 h 3308"/>
                <a:gd name="T82" fmla="*/ 21 w 2194"/>
                <a:gd name="T83" fmla="*/ 226 h 3308"/>
                <a:gd name="T84" fmla="*/ 3 w 2194"/>
                <a:gd name="T85" fmla="*/ 177 h 3308"/>
                <a:gd name="T86" fmla="*/ 3 w 2194"/>
                <a:gd name="T87" fmla="*/ 120 h 3308"/>
                <a:gd name="T88" fmla="*/ 26 w 2194"/>
                <a:gd name="T89" fmla="*/ 67 h 3308"/>
                <a:gd name="T90" fmla="*/ 67 w 2194"/>
                <a:gd name="T91" fmla="*/ 25 h 3308"/>
                <a:gd name="T92" fmla="*/ 121 w 2194"/>
                <a:gd name="T93" fmla="*/ 4 h 3308"/>
                <a:gd name="T94" fmla="*/ 1683 w 2194"/>
                <a:gd name="T95" fmla="*/ 0 h 3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3308">
                  <a:moveTo>
                    <a:pt x="1683" y="0"/>
                  </a:moveTo>
                  <a:lnTo>
                    <a:pt x="2044" y="0"/>
                  </a:lnTo>
                  <a:lnTo>
                    <a:pt x="2074" y="4"/>
                  </a:lnTo>
                  <a:lnTo>
                    <a:pt x="2102" y="12"/>
                  </a:lnTo>
                  <a:lnTo>
                    <a:pt x="2128" y="25"/>
                  </a:lnTo>
                  <a:lnTo>
                    <a:pt x="2150" y="44"/>
                  </a:lnTo>
                  <a:lnTo>
                    <a:pt x="2169" y="67"/>
                  </a:lnTo>
                  <a:lnTo>
                    <a:pt x="2183" y="92"/>
                  </a:lnTo>
                  <a:lnTo>
                    <a:pt x="2192" y="120"/>
                  </a:lnTo>
                  <a:lnTo>
                    <a:pt x="2194" y="150"/>
                  </a:lnTo>
                  <a:lnTo>
                    <a:pt x="2192" y="177"/>
                  </a:lnTo>
                  <a:lnTo>
                    <a:pt x="2185" y="203"/>
                  </a:lnTo>
                  <a:lnTo>
                    <a:pt x="2175" y="226"/>
                  </a:lnTo>
                  <a:lnTo>
                    <a:pt x="2159" y="247"/>
                  </a:lnTo>
                  <a:lnTo>
                    <a:pt x="2141" y="266"/>
                  </a:lnTo>
                  <a:lnTo>
                    <a:pt x="2119" y="280"/>
                  </a:lnTo>
                  <a:lnTo>
                    <a:pt x="2119" y="966"/>
                  </a:lnTo>
                  <a:lnTo>
                    <a:pt x="1968" y="933"/>
                  </a:lnTo>
                  <a:lnTo>
                    <a:pt x="1968" y="301"/>
                  </a:lnTo>
                  <a:lnTo>
                    <a:pt x="227" y="301"/>
                  </a:lnTo>
                  <a:lnTo>
                    <a:pt x="227" y="1955"/>
                  </a:lnTo>
                  <a:lnTo>
                    <a:pt x="1968" y="1955"/>
                  </a:lnTo>
                  <a:lnTo>
                    <a:pt x="1968" y="1548"/>
                  </a:lnTo>
                  <a:lnTo>
                    <a:pt x="2119" y="1580"/>
                  </a:lnTo>
                  <a:lnTo>
                    <a:pt x="2119" y="2030"/>
                  </a:lnTo>
                  <a:lnTo>
                    <a:pt x="2117" y="2050"/>
                  </a:lnTo>
                  <a:lnTo>
                    <a:pt x="2110" y="2068"/>
                  </a:lnTo>
                  <a:lnTo>
                    <a:pt x="2097" y="2084"/>
                  </a:lnTo>
                  <a:lnTo>
                    <a:pt x="2082" y="2095"/>
                  </a:lnTo>
                  <a:lnTo>
                    <a:pt x="2064" y="2102"/>
                  </a:lnTo>
                  <a:lnTo>
                    <a:pt x="2044" y="2105"/>
                  </a:lnTo>
                  <a:lnTo>
                    <a:pt x="1578" y="2105"/>
                  </a:lnTo>
                  <a:lnTo>
                    <a:pt x="1850" y="3118"/>
                  </a:lnTo>
                  <a:lnTo>
                    <a:pt x="1854" y="3145"/>
                  </a:lnTo>
                  <a:lnTo>
                    <a:pt x="1854" y="3172"/>
                  </a:lnTo>
                  <a:lnTo>
                    <a:pt x="1849" y="3197"/>
                  </a:lnTo>
                  <a:lnTo>
                    <a:pt x="1841" y="3221"/>
                  </a:lnTo>
                  <a:lnTo>
                    <a:pt x="1827" y="3244"/>
                  </a:lnTo>
                  <a:lnTo>
                    <a:pt x="1810" y="3264"/>
                  </a:lnTo>
                  <a:lnTo>
                    <a:pt x="1790" y="3281"/>
                  </a:lnTo>
                  <a:lnTo>
                    <a:pt x="1768" y="3294"/>
                  </a:lnTo>
                  <a:lnTo>
                    <a:pt x="1742" y="3302"/>
                  </a:lnTo>
                  <a:lnTo>
                    <a:pt x="1722" y="3307"/>
                  </a:lnTo>
                  <a:lnTo>
                    <a:pt x="1703" y="3308"/>
                  </a:lnTo>
                  <a:lnTo>
                    <a:pt x="1675" y="3306"/>
                  </a:lnTo>
                  <a:lnTo>
                    <a:pt x="1648" y="3298"/>
                  </a:lnTo>
                  <a:lnTo>
                    <a:pt x="1623" y="3286"/>
                  </a:lnTo>
                  <a:lnTo>
                    <a:pt x="1601" y="3269"/>
                  </a:lnTo>
                  <a:lnTo>
                    <a:pt x="1582" y="3248"/>
                  </a:lnTo>
                  <a:lnTo>
                    <a:pt x="1567" y="3223"/>
                  </a:lnTo>
                  <a:lnTo>
                    <a:pt x="1557" y="3196"/>
                  </a:lnTo>
                  <a:lnTo>
                    <a:pt x="1264" y="2105"/>
                  </a:lnTo>
                  <a:lnTo>
                    <a:pt x="932" y="2105"/>
                  </a:lnTo>
                  <a:lnTo>
                    <a:pt x="639" y="3196"/>
                  </a:lnTo>
                  <a:lnTo>
                    <a:pt x="628" y="3223"/>
                  </a:lnTo>
                  <a:lnTo>
                    <a:pt x="613" y="3248"/>
                  </a:lnTo>
                  <a:lnTo>
                    <a:pt x="595" y="3269"/>
                  </a:lnTo>
                  <a:lnTo>
                    <a:pt x="573" y="3286"/>
                  </a:lnTo>
                  <a:lnTo>
                    <a:pt x="548" y="3298"/>
                  </a:lnTo>
                  <a:lnTo>
                    <a:pt x="520" y="3306"/>
                  </a:lnTo>
                  <a:lnTo>
                    <a:pt x="492" y="3308"/>
                  </a:lnTo>
                  <a:lnTo>
                    <a:pt x="473" y="3307"/>
                  </a:lnTo>
                  <a:lnTo>
                    <a:pt x="453" y="3302"/>
                  </a:lnTo>
                  <a:lnTo>
                    <a:pt x="427" y="3294"/>
                  </a:lnTo>
                  <a:lnTo>
                    <a:pt x="404" y="3281"/>
                  </a:lnTo>
                  <a:lnTo>
                    <a:pt x="384" y="3264"/>
                  </a:lnTo>
                  <a:lnTo>
                    <a:pt x="368" y="3244"/>
                  </a:lnTo>
                  <a:lnTo>
                    <a:pt x="355" y="3221"/>
                  </a:lnTo>
                  <a:lnTo>
                    <a:pt x="346" y="3197"/>
                  </a:lnTo>
                  <a:lnTo>
                    <a:pt x="341" y="3172"/>
                  </a:lnTo>
                  <a:lnTo>
                    <a:pt x="341" y="3145"/>
                  </a:lnTo>
                  <a:lnTo>
                    <a:pt x="345" y="3118"/>
                  </a:lnTo>
                  <a:lnTo>
                    <a:pt x="618" y="2105"/>
                  </a:lnTo>
                  <a:lnTo>
                    <a:pt x="152" y="2105"/>
                  </a:lnTo>
                  <a:lnTo>
                    <a:pt x="132" y="2102"/>
                  </a:lnTo>
                  <a:lnTo>
                    <a:pt x="113" y="2095"/>
                  </a:lnTo>
                  <a:lnTo>
                    <a:pt x="98" y="2084"/>
                  </a:lnTo>
                  <a:lnTo>
                    <a:pt x="87" y="2068"/>
                  </a:lnTo>
                  <a:lnTo>
                    <a:pt x="78" y="2050"/>
                  </a:lnTo>
                  <a:lnTo>
                    <a:pt x="76" y="2030"/>
                  </a:lnTo>
                  <a:lnTo>
                    <a:pt x="76" y="280"/>
                  </a:lnTo>
                  <a:lnTo>
                    <a:pt x="54" y="266"/>
                  </a:lnTo>
                  <a:lnTo>
                    <a:pt x="37" y="247"/>
                  </a:lnTo>
                  <a:lnTo>
                    <a:pt x="21" y="226"/>
                  </a:lnTo>
                  <a:lnTo>
                    <a:pt x="9" y="203"/>
                  </a:lnTo>
                  <a:lnTo>
                    <a:pt x="3" y="177"/>
                  </a:lnTo>
                  <a:lnTo>
                    <a:pt x="0" y="150"/>
                  </a:lnTo>
                  <a:lnTo>
                    <a:pt x="3" y="120"/>
                  </a:lnTo>
                  <a:lnTo>
                    <a:pt x="13" y="92"/>
                  </a:lnTo>
                  <a:lnTo>
                    <a:pt x="26" y="67"/>
                  </a:lnTo>
                  <a:lnTo>
                    <a:pt x="45" y="44"/>
                  </a:lnTo>
                  <a:lnTo>
                    <a:pt x="67" y="25"/>
                  </a:lnTo>
                  <a:lnTo>
                    <a:pt x="93" y="12"/>
                  </a:lnTo>
                  <a:lnTo>
                    <a:pt x="121" y="4"/>
                  </a:lnTo>
                  <a:lnTo>
                    <a:pt x="152" y="0"/>
                  </a:lnTo>
                  <a:lnTo>
                    <a:pt x="16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316">
              <a:extLst>
                <a:ext uri="{FF2B5EF4-FFF2-40B4-BE49-F238E27FC236}">
                  <a16:creationId xmlns:a16="http://schemas.microsoft.com/office/drawing/2014/main" id="{75F25347-ECF0-0C32-68D3-10DF45867C9D}"/>
                </a:ext>
              </a:extLst>
            </p:cNvPr>
            <p:cNvSpPr>
              <a:spLocks/>
            </p:cNvSpPr>
            <p:nvPr/>
          </p:nvSpPr>
          <p:spPr bwMode="auto">
            <a:xfrm>
              <a:off x="3912" y="2432"/>
              <a:ext cx="49" cy="48"/>
            </a:xfrm>
            <a:custGeom>
              <a:avLst/>
              <a:gdLst>
                <a:gd name="T0" fmla="*/ 269 w 537"/>
                <a:gd name="T1" fmla="*/ 0 h 534"/>
                <a:gd name="T2" fmla="*/ 308 w 537"/>
                <a:gd name="T3" fmla="*/ 3 h 534"/>
                <a:gd name="T4" fmla="*/ 347 w 537"/>
                <a:gd name="T5" fmla="*/ 11 h 534"/>
                <a:gd name="T6" fmla="*/ 382 w 537"/>
                <a:gd name="T7" fmla="*/ 25 h 534"/>
                <a:gd name="T8" fmla="*/ 415 w 537"/>
                <a:gd name="T9" fmla="*/ 43 h 534"/>
                <a:gd name="T10" fmla="*/ 445 w 537"/>
                <a:gd name="T11" fmla="*/ 65 h 534"/>
                <a:gd name="T12" fmla="*/ 471 w 537"/>
                <a:gd name="T13" fmla="*/ 92 h 534"/>
                <a:gd name="T14" fmla="*/ 494 w 537"/>
                <a:gd name="T15" fmla="*/ 121 h 534"/>
                <a:gd name="T16" fmla="*/ 512 w 537"/>
                <a:gd name="T17" fmla="*/ 155 h 534"/>
                <a:gd name="T18" fmla="*/ 526 w 537"/>
                <a:gd name="T19" fmla="*/ 190 h 534"/>
                <a:gd name="T20" fmla="*/ 535 w 537"/>
                <a:gd name="T21" fmla="*/ 228 h 534"/>
                <a:gd name="T22" fmla="*/ 537 w 537"/>
                <a:gd name="T23" fmla="*/ 267 h 534"/>
                <a:gd name="T24" fmla="*/ 535 w 537"/>
                <a:gd name="T25" fmla="*/ 307 h 534"/>
                <a:gd name="T26" fmla="*/ 526 w 537"/>
                <a:gd name="T27" fmla="*/ 344 h 534"/>
                <a:gd name="T28" fmla="*/ 512 w 537"/>
                <a:gd name="T29" fmla="*/ 379 h 534"/>
                <a:gd name="T30" fmla="*/ 494 w 537"/>
                <a:gd name="T31" fmla="*/ 413 h 534"/>
                <a:gd name="T32" fmla="*/ 471 w 537"/>
                <a:gd name="T33" fmla="*/ 442 h 534"/>
                <a:gd name="T34" fmla="*/ 445 w 537"/>
                <a:gd name="T35" fmla="*/ 469 h 534"/>
                <a:gd name="T36" fmla="*/ 415 w 537"/>
                <a:gd name="T37" fmla="*/ 491 h 534"/>
                <a:gd name="T38" fmla="*/ 382 w 537"/>
                <a:gd name="T39" fmla="*/ 509 h 534"/>
                <a:gd name="T40" fmla="*/ 347 w 537"/>
                <a:gd name="T41" fmla="*/ 523 h 534"/>
                <a:gd name="T42" fmla="*/ 308 w 537"/>
                <a:gd name="T43" fmla="*/ 531 h 534"/>
                <a:gd name="T44" fmla="*/ 269 w 537"/>
                <a:gd name="T45" fmla="*/ 534 h 534"/>
                <a:gd name="T46" fmla="*/ 229 w 537"/>
                <a:gd name="T47" fmla="*/ 531 h 534"/>
                <a:gd name="T48" fmla="*/ 191 w 537"/>
                <a:gd name="T49" fmla="*/ 523 h 534"/>
                <a:gd name="T50" fmla="*/ 155 w 537"/>
                <a:gd name="T51" fmla="*/ 509 h 534"/>
                <a:gd name="T52" fmla="*/ 123 w 537"/>
                <a:gd name="T53" fmla="*/ 491 h 534"/>
                <a:gd name="T54" fmla="*/ 92 w 537"/>
                <a:gd name="T55" fmla="*/ 469 h 534"/>
                <a:gd name="T56" fmla="*/ 66 w 537"/>
                <a:gd name="T57" fmla="*/ 442 h 534"/>
                <a:gd name="T58" fmla="*/ 43 w 537"/>
                <a:gd name="T59" fmla="*/ 413 h 534"/>
                <a:gd name="T60" fmla="*/ 25 w 537"/>
                <a:gd name="T61" fmla="*/ 379 h 534"/>
                <a:gd name="T62" fmla="*/ 12 w 537"/>
                <a:gd name="T63" fmla="*/ 344 h 534"/>
                <a:gd name="T64" fmla="*/ 3 w 537"/>
                <a:gd name="T65" fmla="*/ 307 h 534"/>
                <a:gd name="T66" fmla="*/ 0 w 537"/>
                <a:gd name="T67" fmla="*/ 267 h 534"/>
                <a:gd name="T68" fmla="*/ 3 w 537"/>
                <a:gd name="T69" fmla="*/ 228 h 534"/>
                <a:gd name="T70" fmla="*/ 12 w 537"/>
                <a:gd name="T71" fmla="*/ 190 h 534"/>
                <a:gd name="T72" fmla="*/ 25 w 537"/>
                <a:gd name="T73" fmla="*/ 155 h 534"/>
                <a:gd name="T74" fmla="*/ 43 w 537"/>
                <a:gd name="T75" fmla="*/ 121 h 534"/>
                <a:gd name="T76" fmla="*/ 66 w 537"/>
                <a:gd name="T77" fmla="*/ 91 h 534"/>
                <a:gd name="T78" fmla="*/ 92 w 537"/>
                <a:gd name="T79" fmla="*/ 65 h 534"/>
                <a:gd name="T80" fmla="*/ 123 w 537"/>
                <a:gd name="T81" fmla="*/ 43 h 534"/>
                <a:gd name="T82" fmla="*/ 155 w 537"/>
                <a:gd name="T83" fmla="*/ 25 h 534"/>
                <a:gd name="T84" fmla="*/ 191 w 537"/>
                <a:gd name="T85" fmla="*/ 11 h 534"/>
                <a:gd name="T86" fmla="*/ 229 w 537"/>
                <a:gd name="T87" fmla="*/ 3 h 534"/>
                <a:gd name="T88" fmla="*/ 269 w 537"/>
                <a:gd name="T89"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7" h="534">
                  <a:moveTo>
                    <a:pt x="269" y="0"/>
                  </a:moveTo>
                  <a:lnTo>
                    <a:pt x="308" y="3"/>
                  </a:lnTo>
                  <a:lnTo>
                    <a:pt x="347" y="11"/>
                  </a:lnTo>
                  <a:lnTo>
                    <a:pt x="382" y="25"/>
                  </a:lnTo>
                  <a:lnTo>
                    <a:pt x="415" y="43"/>
                  </a:lnTo>
                  <a:lnTo>
                    <a:pt x="445" y="65"/>
                  </a:lnTo>
                  <a:lnTo>
                    <a:pt x="471" y="92"/>
                  </a:lnTo>
                  <a:lnTo>
                    <a:pt x="494" y="121"/>
                  </a:lnTo>
                  <a:lnTo>
                    <a:pt x="512" y="155"/>
                  </a:lnTo>
                  <a:lnTo>
                    <a:pt x="526" y="190"/>
                  </a:lnTo>
                  <a:lnTo>
                    <a:pt x="535" y="228"/>
                  </a:lnTo>
                  <a:lnTo>
                    <a:pt x="537" y="267"/>
                  </a:lnTo>
                  <a:lnTo>
                    <a:pt x="535" y="307"/>
                  </a:lnTo>
                  <a:lnTo>
                    <a:pt x="526" y="344"/>
                  </a:lnTo>
                  <a:lnTo>
                    <a:pt x="512" y="379"/>
                  </a:lnTo>
                  <a:lnTo>
                    <a:pt x="494" y="413"/>
                  </a:lnTo>
                  <a:lnTo>
                    <a:pt x="471" y="442"/>
                  </a:lnTo>
                  <a:lnTo>
                    <a:pt x="445" y="469"/>
                  </a:lnTo>
                  <a:lnTo>
                    <a:pt x="415" y="491"/>
                  </a:lnTo>
                  <a:lnTo>
                    <a:pt x="382" y="509"/>
                  </a:lnTo>
                  <a:lnTo>
                    <a:pt x="347" y="523"/>
                  </a:lnTo>
                  <a:lnTo>
                    <a:pt x="308" y="531"/>
                  </a:lnTo>
                  <a:lnTo>
                    <a:pt x="269" y="534"/>
                  </a:lnTo>
                  <a:lnTo>
                    <a:pt x="229" y="531"/>
                  </a:lnTo>
                  <a:lnTo>
                    <a:pt x="191" y="523"/>
                  </a:lnTo>
                  <a:lnTo>
                    <a:pt x="155" y="509"/>
                  </a:lnTo>
                  <a:lnTo>
                    <a:pt x="123" y="491"/>
                  </a:lnTo>
                  <a:lnTo>
                    <a:pt x="92" y="469"/>
                  </a:lnTo>
                  <a:lnTo>
                    <a:pt x="66" y="442"/>
                  </a:lnTo>
                  <a:lnTo>
                    <a:pt x="43" y="413"/>
                  </a:lnTo>
                  <a:lnTo>
                    <a:pt x="25" y="379"/>
                  </a:lnTo>
                  <a:lnTo>
                    <a:pt x="12" y="344"/>
                  </a:lnTo>
                  <a:lnTo>
                    <a:pt x="3" y="307"/>
                  </a:lnTo>
                  <a:lnTo>
                    <a:pt x="0" y="267"/>
                  </a:lnTo>
                  <a:lnTo>
                    <a:pt x="3" y="228"/>
                  </a:lnTo>
                  <a:lnTo>
                    <a:pt x="12" y="190"/>
                  </a:lnTo>
                  <a:lnTo>
                    <a:pt x="25" y="155"/>
                  </a:lnTo>
                  <a:lnTo>
                    <a:pt x="43" y="121"/>
                  </a:lnTo>
                  <a:lnTo>
                    <a:pt x="66" y="91"/>
                  </a:lnTo>
                  <a:lnTo>
                    <a:pt x="92" y="65"/>
                  </a:lnTo>
                  <a:lnTo>
                    <a:pt x="123" y="43"/>
                  </a:lnTo>
                  <a:lnTo>
                    <a:pt x="155" y="25"/>
                  </a:lnTo>
                  <a:lnTo>
                    <a:pt x="191" y="11"/>
                  </a:lnTo>
                  <a:lnTo>
                    <a:pt x="229" y="3"/>
                  </a:lnTo>
                  <a:lnTo>
                    <a:pt x="2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317">
              <a:extLst>
                <a:ext uri="{FF2B5EF4-FFF2-40B4-BE49-F238E27FC236}">
                  <a16:creationId xmlns:a16="http://schemas.microsoft.com/office/drawing/2014/main" id="{9E715B63-F26A-F1AA-984D-3F7B4960CADC}"/>
                </a:ext>
              </a:extLst>
            </p:cNvPr>
            <p:cNvSpPr>
              <a:spLocks/>
            </p:cNvSpPr>
            <p:nvPr/>
          </p:nvSpPr>
          <p:spPr bwMode="auto">
            <a:xfrm>
              <a:off x="3816" y="2470"/>
              <a:ext cx="186" cy="212"/>
            </a:xfrm>
            <a:custGeom>
              <a:avLst/>
              <a:gdLst>
                <a:gd name="T0" fmla="*/ 183 w 2044"/>
                <a:gd name="T1" fmla="*/ 3 h 2330"/>
                <a:gd name="T2" fmla="*/ 1182 w 2044"/>
                <a:gd name="T3" fmla="*/ 187 h 2330"/>
                <a:gd name="T4" fmla="*/ 1229 w 2044"/>
                <a:gd name="T5" fmla="*/ 196 h 2330"/>
                <a:gd name="T6" fmla="*/ 1270 w 2044"/>
                <a:gd name="T7" fmla="*/ 217 h 2330"/>
                <a:gd name="T8" fmla="*/ 1216 w 2044"/>
                <a:gd name="T9" fmla="*/ 747 h 2330"/>
                <a:gd name="T10" fmla="*/ 1433 w 2044"/>
                <a:gd name="T11" fmla="*/ 747 h 2330"/>
                <a:gd name="T12" fmla="*/ 1380 w 2044"/>
                <a:gd name="T13" fmla="*/ 217 h 2330"/>
                <a:gd name="T14" fmla="*/ 1420 w 2044"/>
                <a:gd name="T15" fmla="*/ 196 h 2330"/>
                <a:gd name="T16" fmla="*/ 1468 w 2044"/>
                <a:gd name="T17" fmla="*/ 187 h 2330"/>
                <a:gd name="T18" fmla="*/ 1641 w 2044"/>
                <a:gd name="T19" fmla="*/ 189 h 2330"/>
                <a:gd name="T20" fmla="*/ 1689 w 2044"/>
                <a:gd name="T21" fmla="*/ 207 h 2330"/>
                <a:gd name="T22" fmla="*/ 1729 w 2044"/>
                <a:gd name="T23" fmla="*/ 239 h 2330"/>
                <a:gd name="T24" fmla="*/ 1756 w 2044"/>
                <a:gd name="T25" fmla="*/ 283 h 2330"/>
                <a:gd name="T26" fmla="*/ 2041 w 2044"/>
                <a:gd name="T27" fmla="*/ 1024 h 2330"/>
                <a:gd name="T28" fmla="*/ 2042 w 2044"/>
                <a:gd name="T29" fmla="*/ 1076 h 2330"/>
                <a:gd name="T30" fmla="*/ 2026 w 2044"/>
                <a:gd name="T31" fmla="*/ 1124 h 2330"/>
                <a:gd name="T32" fmla="*/ 1993 w 2044"/>
                <a:gd name="T33" fmla="*/ 1165 h 2330"/>
                <a:gd name="T34" fmla="*/ 1948 w 2044"/>
                <a:gd name="T35" fmla="*/ 1193 h 2330"/>
                <a:gd name="T36" fmla="*/ 1895 w 2044"/>
                <a:gd name="T37" fmla="*/ 1202 h 2330"/>
                <a:gd name="T38" fmla="*/ 1844 w 2044"/>
                <a:gd name="T39" fmla="*/ 1195 h 2330"/>
                <a:gd name="T40" fmla="*/ 1798 w 2044"/>
                <a:gd name="T41" fmla="*/ 1170 h 2330"/>
                <a:gd name="T42" fmla="*/ 1764 w 2044"/>
                <a:gd name="T43" fmla="*/ 1132 h 2330"/>
                <a:gd name="T44" fmla="*/ 1619 w 2044"/>
                <a:gd name="T45" fmla="*/ 764 h 2330"/>
                <a:gd name="T46" fmla="*/ 1677 w 2044"/>
                <a:gd name="T47" fmla="*/ 2170 h 2330"/>
                <a:gd name="T48" fmla="*/ 1669 w 2044"/>
                <a:gd name="T49" fmla="*/ 2230 h 2330"/>
                <a:gd name="T50" fmla="*/ 1639 w 2044"/>
                <a:gd name="T51" fmla="*/ 2280 h 2330"/>
                <a:gd name="T52" fmla="*/ 1593 w 2044"/>
                <a:gd name="T53" fmla="*/ 2314 h 2330"/>
                <a:gd name="T54" fmla="*/ 1535 w 2044"/>
                <a:gd name="T55" fmla="*/ 2330 h 2330"/>
                <a:gd name="T56" fmla="*/ 1497 w 2044"/>
                <a:gd name="T57" fmla="*/ 2326 h 2330"/>
                <a:gd name="T58" fmla="*/ 1444 w 2044"/>
                <a:gd name="T59" fmla="*/ 2306 h 2330"/>
                <a:gd name="T60" fmla="*/ 1404 w 2044"/>
                <a:gd name="T61" fmla="*/ 2268 h 2330"/>
                <a:gd name="T62" fmla="*/ 1380 w 2044"/>
                <a:gd name="T63" fmla="*/ 2217 h 2330"/>
                <a:gd name="T64" fmla="*/ 1325 w 2044"/>
                <a:gd name="T65" fmla="*/ 1342 h 2330"/>
                <a:gd name="T66" fmla="*/ 1271 w 2044"/>
                <a:gd name="T67" fmla="*/ 2217 h 2330"/>
                <a:gd name="T68" fmla="*/ 1247 w 2044"/>
                <a:gd name="T69" fmla="*/ 2268 h 2330"/>
                <a:gd name="T70" fmla="*/ 1206 w 2044"/>
                <a:gd name="T71" fmla="*/ 2306 h 2330"/>
                <a:gd name="T72" fmla="*/ 1153 w 2044"/>
                <a:gd name="T73" fmla="*/ 2326 h 2330"/>
                <a:gd name="T74" fmla="*/ 1115 w 2044"/>
                <a:gd name="T75" fmla="*/ 2330 h 2330"/>
                <a:gd name="T76" fmla="*/ 1057 w 2044"/>
                <a:gd name="T77" fmla="*/ 2314 h 2330"/>
                <a:gd name="T78" fmla="*/ 1011 w 2044"/>
                <a:gd name="T79" fmla="*/ 2280 h 2330"/>
                <a:gd name="T80" fmla="*/ 982 w 2044"/>
                <a:gd name="T81" fmla="*/ 2230 h 2330"/>
                <a:gd name="T82" fmla="*/ 973 w 2044"/>
                <a:gd name="T83" fmla="*/ 2170 h 2330"/>
                <a:gd name="T84" fmla="*/ 1031 w 2044"/>
                <a:gd name="T85" fmla="*/ 488 h 2330"/>
                <a:gd name="T86" fmla="*/ 120 w 2044"/>
                <a:gd name="T87" fmla="*/ 297 h 2330"/>
                <a:gd name="T88" fmla="*/ 70 w 2044"/>
                <a:gd name="T89" fmla="*/ 277 h 2330"/>
                <a:gd name="T90" fmla="*/ 32 w 2044"/>
                <a:gd name="T91" fmla="*/ 242 h 2330"/>
                <a:gd name="T92" fmla="*/ 7 w 2044"/>
                <a:gd name="T93" fmla="*/ 198 h 2330"/>
                <a:gd name="T94" fmla="*/ 0 w 2044"/>
                <a:gd name="T95" fmla="*/ 146 h 2330"/>
                <a:gd name="T96" fmla="*/ 11 w 2044"/>
                <a:gd name="T97" fmla="*/ 93 h 2330"/>
                <a:gd name="T98" fmla="*/ 39 w 2044"/>
                <a:gd name="T99" fmla="*/ 49 h 2330"/>
                <a:gd name="T100" fmla="*/ 80 w 2044"/>
                <a:gd name="T101" fmla="*/ 18 h 2330"/>
                <a:gd name="T102" fmla="*/ 129 w 2044"/>
                <a:gd name="T103" fmla="*/ 1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4" h="2330">
                  <a:moveTo>
                    <a:pt x="156" y="0"/>
                  </a:moveTo>
                  <a:lnTo>
                    <a:pt x="183" y="3"/>
                  </a:lnTo>
                  <a:lnTo>
                    <a:pt x="1051" y="187"/>
                  </a:lnTo>
                  <a:lnTo>
                    <a:pt x="1182" y="187"/>
                  </a:lnTo>
                  <a:lnTo>
                    <a:pt x="1207" y="189"/>
                  </a:lnTo>
                  <a:lnTo>
                    <a:pt x="1229" y="196"/>
                  </a:lnTo>
                  <a:lnTo>
                    <a:pt x="1251" y="205"/>
                  </a:lnTo>
                  <a:lnTo>
                    <a:pt x="1270" y="217"/>
                  </a:lnTo>
                  <a:lnTo>
                    <a:pt x="1287" y="233"/>
                  </a:lnTo>
                  <a:lnTo>
                    <a:pt x="1216" y="747"/>
                  </a:lnTo>
                  <a:lnTo>
                    <a:pt x="1325" y="837"/>
                  </a:lnTo>
                  <a:lnTo>
                    <a:pt x="1433" y="747"/>
                  </a:lnTo>
                  <a:lnTo>
                    <a:pt x="1362" y="233"/>
                  </a:lnTo>
                  <a:lnTo>
                    <a:pt x="1380" y="217"/>
                  </a:lnTo>
                  <a:lnTo>
                    <a:pt x="1399" y="205"/>
                  </a:lnTo>
                  <a:lnTo>
                    <a:pt x="1420" y="196"/>
                  </a:lnTo>
                  <a:lnTo>
                    <a:pt x="1443" y="189"/>
                  </a:lnTo>
                  <a:lnTo>
                    <a:pt x="1468" y="187"/>
                  </a:lnTo>
                  <a:lnTo>
                    <a:pt x="1615" y="187"/>
                  </a:lnTo>
                  <a:lnTo>
                    <a:pt x="1641" y="189"/>
                  </a:lnTo>
                  <a:lnTo>
                    <a:pt x="1666" y="197"/>
                  </a:lnTo>
                  <a:lnTo>
                    <a:pt x="1689" y="207"/>
                  </a:lnTo>
                  <a:lnTo>
                    <a:pt x="1710" y="222"/>
                  </a:lnTo>
                  <a:lnTo>
                    <a:pt x="1729" y="239"/>
                  </a:lnTo>
                  <a:lnTo>
                    <a:pt x="1745" y="260"/>
                  </a:lnTo>
                  <a:lnTo>
                    <a:pt x="1756" y="283"/>
                  </a:lnTo>
                  <a:lnTo>
                    <a:pt x="2034" y="998"/>
                  </a:lnTo>
                  <a:lnTo>
                    <a:pt x="2041" y="1024"/>
                  </a:lnTo>
                  <a:lnTo>
                    <a:pt x="2044" y="1050"/>
                  </a:lnTo>
                  <a:lnTo>
                    <a:pt x="2042" y="1076"/>
                  </a:lnTo>
                  <a:lnTo>
                    <a:pt x="2036" y="1101"/>
                  </a:lnTo>
                  <a:lnTo>
                    <a:pt x="2026" y="1124"/>
                  </a:lnTo>
                  <a:lnTo>
                    <a:pt x="2011" y="1146"/>
                  </a:lnTo>
                  <a:lnTo>
                    <a:pt x="1993" y="1165"/>
                  </a:lnTo>
                  <a:lnTo>
                    <a:pt x="1972" y="1180"/>
                  </a:lnTo>
                  <a:lnTo>
                    <a:pt x="1948" y="1193"/>
                  </a:lnTo>
                  <a:lnTo>
                    <a:pt x="1922" y="1200"/>
                  </a:lnTo>
                  <a:lnTo>
                    <a:pt x="1895" y="1202"/>
                  </a:lnTo>
                  <a:lnTo>
                    <a:pt x="1870" y="1201"/>
                  </a:lnTo>
                  <a:lnTo>
                    <a:pt x="1844" y="1195"/>
                  </a:lnTo>
                  <a:lnTo>
                    <a:pt x="1820" y="1185"/>
                  </a:lnTo>
                  <a:lnTo>
                    <a:pt x="1798" y="1170"/>
                  </a:lnTo>
                  <a:lnTo>
                    <a:pt x="1780" y="1152"/>
                  </a:lnTo>
                  <a:lnTo>
                    <a:pt x="1764" y="1132"/>
                  </a:lnTo>
                  <a:lnTo>
                    <a:pt x="1752" y="1107"/>
                  </a:lnTo>
                  <a:lnTo>
                    <a:pt x="1619" y="764"/>
                  </a:lnTo>
                  <a:lnTo>
                    <a:pt x="1619" y="1184"/>
                  </a:lnTo>
                  <a:lnTo>
                    <a:pt x="1677" y="2170"/>
                  </a:lnTo>
                  <a:lnTo>
                    <a:pt x="1676" y="2201"/>
                  </a:lnTo>
                  <a:lnTo>
                    <a:pt x="1669" y="2230"/>
                  </a:lnTo>
                  <a:lnTo>
                    <a:pt x="1656" y="2256"/>
                  </a:lnTo>
                  <a:lnTo>
                    <a:pt x="1639" y="2280"/>
                  </a:lnTo>
                  <a:lnTo>
                    <a:pt x="1617" y="2299"/>
                  </a:lnTo>
                  <a:lnTo>
                    <a:pt x="1593" y="2314"/>
                  </a:lnTo>
                  <a:lnTo>
                    <a:pt x="1565" y="2324"/>
                  </a:lnTo>
                  <a:lnTo>
                    <a:pt x="1535" y="2330"/>
                  </a:lnTo>
                  <a:lnTo>
                    <a:pt x="1526" y="2330"/>
                  </a:lnTo>
                  <a:lnTo>
                    <a:pt x="1497" y="2326"/>
                  </a:lnTo>
                  <a:lnTo>
                    <a:pt x="1470" y="2319"/>
                  </a:lnTo>
                  <a:lnTo>
                    <a:pt x="1444" y="2306"/>
                  </a:lnTo>
                  <a:lnTo>
                    <a:pt x="1423" y="2289"/>
                  </a:lnTo>
                  <a:lnTo>
                    <a:pt x="1404" y="2268"/>
                  </a:lnTo>
                  <a:lnTo>
                    <a:pt x="1389" y="2244"/>
                  </a:lnTo>
                  <a:lnTo>
                    <a:pt x="1380" y="2217"/>
                  </a:lnTo>
                  <a:lnTo>
                    <a:pt x="1374" y="2188"/>
                  </a:lnTo>
                  <a:lnTo>
                    <a:pt x="1325" y="1342"/>
                  </a:lnTo>
                  <a:lnTo>
                    <a:pt x="1276" y="2188"/>
                  </a:lnTo>
                  <a:lnTo>
                    <a:pt x="1271" y="2217"/>
                  </a:lnTo>
                  <a:lnTo>
                    <a:pt x="1261" y="2244"/>
                  </a:lnTo>
                  <a:lnTo>
                    <a:pt x="1247" y="2268"/>
                  </a:lnTo>
                  <a:lnTo>
                    <a:pt x="1228" y="2289"/>
                  </a:lnTo>
                  <a:lnTo>
                    <a:pt x="1206" y="2306"/>
                  </a:lnTo>
                  <a:lnTo>
                    <a:pt x="1181" y="2319"/>
                  </a:lnTo>
                  <a:lnTo>
                    <a:pt x="1153" y="2326"/>
                  </a:lnTo>
                  <a:lnTo>
                    <a:pt x="1124" y="2330"/>
                  </a:lnTo>
                  <a:lnTo>
                    <a:pt x="1115" y="2330"/>
                  </a:lnTo>
                  <a:lnTo>
                    <a:pt x="1085" y="2324"/>
                  </a:lnTo>
                  <a:lnTo>
                    <a:pt x="1057" y="2314"/>
                  </a:lnTo>
                  <a:lnTo>
                    <a:pt x="1032" y="2299"/>
                  </a:lnTo>
                  <a:lnTo>
                    <a:pt x="1011" y="2280"/>
                  </a:lnTo>
                  <a:lnTo>
                    <a:pt x="994" y="2256"/>
                  </a:lnTo>
                  <a:lnTo>
                    <a:pt x="982" y="2230"/>
                  </a:lnTo>
                  <a:lnTo>
                    <a:pt x="974" y="2201"/>
                  </a:lnTo>
                  <a:lnTo>
                    <a:pt x="973" y="2170"/>
                  </a:lnTo>
                  <a:lnTo>
                    <a:pt x="1031" y="1184"/>
                  </a:lnTo>
                  <a:lnTo>
                    <a:pt x="1031" y="488"/>
                  </a:lnTo>
                  <a:lnTo>
                    <a:pt x="1003" y="485"/>
                  </a:lnTo>
                  <a:lnTo>
                    <a:pt x="120" y="297"/>
                  </a:lnTo>
                  <a:lnTo>
                    <a:pt x="94" y="289"/>
                  </a:lnTo>
                  <a:lnTo>
                    <a:pt x="70" y="277"/>
                  </a:lnTo>
                  <a:lnTo>
                    <a:pt x="49" y="261"/>
                  </a:lnTo>
                  <a:lnTo>
                    <a:pt x="32" y="242"/>
                  </a:lnTo>
                  <a:lnTo>
                    <a:pt x="17" y="222"/>
                  </a:lnTo>
                  <a:lnTo>
                    <a:pt x="7" y="198"/>
                  </a:lnTo>
                  <a:lnTo>
                    <a:pt x="2" y="173"/>
                  </a:lnTo>
                  <a:lnTo>
                    <a:pt x="0" y="146"/>
                  </a:lnTo>
                  <a:lnTo>
                    <a:pt x="3" y="119"/>
                  </a:lnTo>
                  <a:lnTo>
                    <a:pt x="11" y="93"/>
                  </a:lnTo>
                  <a:lnTo>
                    <a:pt x="24" y="70"/>
                  </a:lnTo>
                  <a:lnTo>
                    <a:pt x="39" y="49"/>
                  </a:lnTo>
                  <a:lnTo>
                    <a:pt x="58" y="31"/>
                  </a:lnTo>
                  <a:lnTo>
                    <a:pt x="80" y="18"/>
                  </a:lnTo>
                  <a:lnTo>
                    <a:pt x="104" y="7"/>
                  </a:lnTo>
                  <a:lnTo>
                    <a:pt x="129" y="1"/>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318">
              <a:extLst>
                <a:ext uri="{FF2B5EF4-FFF2-40B4-BE49-F238E27FC236}">
                  <a16:creationId xmlns:a16="http://schemas.microsoft.com/office/drawing/2014/main" id="{DFC46597-002D-5377-9B9A-E79AFF7C0984}"/>
                </a:ext>
              </a:extLst>
            </p:cNvPr>
            <p:cNvSpPr>
              <a:spLocks/>
            </p:cNvSpPr>
            <p:nvPr/>
          </p:nvSpPr>
          <p:spPr bwMode="auto">
            <a:xfrm>
              <a:off x="3730" y="2472"/>
              <a:ext cx="14" cy="72"/>
            </a:xfrm>
            <a:custGeom>
              <a:avLst/>
              <a:gdLst>
                <a:gd name="T0" fmla="*/ 76 w 151"/>
                <a:gd name="T1" fmla="*/ 0 h 789"/>
                <a:gd name="T2" fmla="*/ 96 w 151"/>
                <a:gd name="T3" fmla="*/ 2 h 789"/>
                <a:gd name="T4" fmla="*/ 113 w 151"/>
                <a:gd name="T5" fmla="*/ 10 h 789"/>
                <a:gd name="T6" fmla="*/ 129 w 151"/>
                <a:gd name="T7" fmla="*/ 22 h 789"/>
                <a:gd name="T8" fmla="*/ 141 w 151"/>
                <a:gd name="T9" fmla="*/ 37 h 789"/>
                <a:gd name="T10" fmla="*/ 149 w 151"/>
                <a:gd name="T11" fmla="*/ 55 h 789"/>
                <a:gd name="T12" fmla="*/ 151 w 151"/>
                <a:gd name="T13" fmla="*/ 75 h 789"/>
                <a:gd name="T14" fmla="*/ 151 w 151"/>
                <a:gd name="T15" fmla="*/ 714 h 789"/>
                <a:gd name="T16" fmla="*/ 149 w 151"/>
                <a:gd name="T17" fmla="*/ 734 h 789"/>
                <a:gd name="T18" fmla="*/ 141 w 151"/>
                <a:gd name="T19" fmla="*/ 752 h 789"/>
                <a:gd name="T20" fmla="*/ 129 w 151"/>
                <a:gd name="T21" fmla="*/ 766 h 789"/>
                <a:gd name="T22" fmla="*/ 113 w 151"/>
                <a:gd name="T23" fmla="*/ 779 h 789"/>
                <a:gd name="T24" fmla="*/ 96 w 151"/>
                <a:gd name="T25" fmla="*/ 786 h 789"/>
                <a:gd name="T26" fmla="*/ 76 w 151"/>
                <a:gd name="T27" fmla="*/ 789 h 789"/>
                <a:gd name="T28" fmla="*/ 56 w 151"/>
                <a:gd name="T29" fmla="*/ 786 h 789"/>
                <a:gd name="T30" fmla="*/ 37 w 151"/>
                <a:gd name="T31" fmla="*/ 779 h 789"/>
                <a:gd name="T32" fmla="*/ 22 w 151"/>
                <a:gd name="T33" fmla="*/ 766 h 789"/>
                <a:gd name="T34" fmla="*/ 10 w 151"/>
                <a:gd name="T35" fmla="*/ 752 h 789"/>
                <a:gd name="T36" fmla="*/ 2 w 151"/>
                <a:gd name="T37" fmla="*/ 734 h 789"/>
                <a:gd name="T38" fmla="*/ 0 w 151"/>
                <a:gd name="T39" fmla="*/ 714 h 789"/>
                <a:gd name="T40" fmla="*/ 0 w 151"/>
                <a:gd name="T41" fmla="*/ 75 h 789"/>
                <a:gd name="T42" fmla="*/ 2 w 151"/>
                <a:gd name="T43" fmla="*/ 55 h 789"/>
                <a:gd name="T44" fmla="*/ 10 w 151"/>
                <a:gd name="T45" fmla="*/ 37 h 789"/>
                <a:gd name="T46" fmla="*/ 22 w 151"/>
                <a:gd name="T47" fmla="*/ 22 h 789"/>
                <a:gd name="T48" fmla="*/ 37 w 151"/>
                <a:gd name="T49" fmla="*/ 10 h 789"/>
                <a:gd name="T50" fmla="*/ 56 w 151"/>
                <a:gd name="T51" fmla="*/ 2 h 789"/>
                <a:gd name="T52" fmla="*/ 76 w 151"/>
                <a:gd name="T5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789">
                  <a:moveTo>
                    <a:pt x="76" y="0"/>
                  </a:moveTo>
                  <a:lnTo>
                    <a:pt x="96" y="2"/>
                  </a:lnTo>
                  <a:lnTo>
                    <a:pt x="113" y="10"/>
                  </a:lnTo>
                  <a:lnTo>
                    <a:pt x="129" y="22"/>
                  </a:lnTo>
                  <a:lnTo>
                    <a:pt x="141" y="37"/>
                  </a:lnTo>
                  <a:lnTo>
                    <a:pt x="149" y="55"/>
                  </a:lnTo>
                  <a:lnTo>
                    <a:pt x="151" y="75"/>
                  </a:lnTo>
                  <a:lnTo>
                    <a:pt x="151" y="714"/>
                  </a:lnTo>
                  <a:lnTo>
                    <a:pt x="149" y="734"/>
                  </a:lnTo>
                  <a:lnTo>
                    <a:pt x="141" y="752"/>
                  </a:lnTo>
                  <a:lnTo>
                    <a:pt x="129" y="766"/>
                  </a:lnTo>
                  <a:lnTo>
                    <a:pt x="113" y="779"/>
                  </a:lnTo>
                  <a:lnTo>
                    <a:pt x="96" y="786"/>
                  </a:lnTo>
                  <a:lnTo>
                    <a:pt x="76" y="789"/>
                  </a:lnTo>
                  <a:lnTo>
                    <a:pt x="56" y="786"/>
                  </a:lnTo>
                  <a:lnTo>
                    <a:pt x="37" y="779"/>
                  </a:lnTo>
                  <a:lnTo>
                    <a:pt x="22" y="766"/>
                  </a:lnTo>
                  <a:lnTo>
                    <a:pt x="10" y="752"/>
                  </a:lnTo>
                  <a:lnTo>
                    <a:pt x="2" y="734"/>
                  </a:lnTo>
                  <a:lnTo>
                    <a:pt x="0" y="714"/>
                  </a:lnTo>
                  <a:lnTo>
                    <a:pt x="0" y="75"/>
                  </a:lnTo>
                  <a:lnTo>
                    <a:pt x="2" y="55"/>
                  </a:lnTo>
                  <a:lnTo>
                    <a:pt x="10" y="37"/>
                  </a:lnTo>
                  <a:lnTo>
                    <a:pt x="22" y="22"/>
                  </a:lnTo>
                  <a:lnTo>
                    <a:pt x="37" y="10"/>
                  </a:lnTo>
                  <a:lnTo>
                    <a:pt x="56" y="2"/>
                  </a:lnTo>
                  <a:lnTo>
                    <a:pt x="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319">
              <a:extLst>
                <a:ext uri="{FF2B5EF4-FFF2-40B4-BE49-F238E27FC236}">
                  <a16:creationId xmlns:a16="http://schemas.microsoft.com/office/drawing/2014/main" id="{260C10C2-CDC2-E682-92BC-6CE572CD4E3C}"/>
                </a:ext>
              </a:extLst>
            </p:cNvPr>
            <p:cNvSpPr>
              <a:spLocks/>
            </p:cNvSpPr>
            <p:nvPr/>
          </p:nvSpPr>
          <p:spPr bwMode="auto">
            <a:xfrm>
              <a:off x="3761" y="2424"/>
              <a:ext cx="14" cy="120"/>
            </a:xfrm>
            <a:custGeom>
              <a:avLst/>
              <a:gdLst>
                <a:gd name="T0" fmla="*/ 75 w 150"/>
                <a:gd name="T1" fmla="*/ 0 h 1316"/>
                <a:gd name="T2" fmla="*/ 95 w 150"/>
                <a:gd name="T3" fmla="*/ 3 h 1316"/>
                <a:gd name="T4" fmla="*/ 114 w 150"/>
                <a:gd name="T5" fmla="*/ 11 h 1316"/>
                <a:gd name="T6" fmla="*/ 128 w 150"/>
                <a:gd name="T7" fmla="*/ 22 h 1316"/>
                <a:gd name="T8" fmla="*/ 140 w 150"/>
                <a:gd name="T9" fmla="*/ 37 h 1316"/>
                <a:gd name="T10" fmla="*/ 148 w 150"/>
                <a:gd name="T11" fmla="*/ 56 h 1316"/>
                <a:gd name="T12" fmla="*/ 150 w 150"/>
                <a:gd name="T13" fmla="*/ 75 h 1316"/>
                <a:gd name="T14" fmla="*/ 150 w 150"/>
                <a:gd name="T15" fmla="*/ 1240 h 1316"/>
                <a:gd name="T16" fmla="*/ 148 w 150"/>
                <a:gd name="T17" fmla="*/ 1260 h 1316"/>
                <a:gd name="T18" fmla="*/ 140 w 150"/>
                <a:gd name="T19" fmla="*/ 1279 h 1316"/>
                <a:gd name="T20" fmla="*/ 128 w 150"/>
                <a:gd name="T21" fmla="*/ 1293 h 1316"/>
                <a:gd name="T22" fmla="*/ 114 w 150"/>
                <a:gd name="T23" fmla="*/ 1306 h 1316"/>
                <a:gd name="T24" fmla="*/ 95 w 150"/>
                <a:gd name="T25" fmla="*/ 1313 h 1316"/>
                <a:gd name="T26" fmla="*/ 75 w 150"/>
                <a:gd name="T27" fmla="*/ 1316 h 1316"/>
                <a:gd name="T28" fmla="*/ 55 w 150"/>
                <a:gd name="T29" fmla="*/ 1313 h 1316"/>
                <a:gd name="T30" fmla="*/ 37 w 150"/>
                <a:gd name="T31" fmla="*/ 1306 h 1316"/>
                <a:gd name="T32" fmla="*/ 22 w 150"/>
                <a:gd name="T33" fmla="*/ 1293 h 1316"/>
                <a:gd name="T34" fmla="*/ 10 w 150"/>
                <a:gd name="T35" fmla="*/ 1279 h 1316"/>
                <a:gd name="T36" fmla="*/ 2 w 150"/>
                <a:gd name="T37" fmla="*/ 1260 h 1316"/>
                <a:gd name="T38" fmla="*/ 0 w 150"/>
                <a:gd name="T39" fmla="*/ 1240 h 1316"/>
                <a:gd name="T40" fmla="*/ 0 w 150"/>
                <a:gd name="T41" fmla="*/ 75 h 1316"/>
                <a:gd name="T42" fmla="*/ 2 w 150"/>
                <a:gd name="T43" fmla="*/ 56 h 1316"/>
                <a:gd name="T44" fmla="*/ 10 w 150"/>
                <a:gd name="T45" fmla="*/ 37 h 1316"/>
                <a:gd name="T46" fmla="*/ 22 w 150"/>
                <a:gd name="T47" fmla="*/ 22 h 1316"/>
                <a:gd name="T48" fmla="*/ 37 w 150"/>
                <a:gd name="T49" fmla="*/ 11 h 1316"/>
                <a:gd name="T50" fmla="*/ 55 w 150"/>
                <a:gd name="T51" fmla="*/ 3 h 1316"/>
                <a:gd name="T52" fmla="*/ 75 w 150"/>
                <a:gd name="T53" fmla="*/ 0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1316">
                  <a:moveTo>
                    <a:pt x="75" y="0"/>
                  </a:moveTo>
                  <a:lnTo>
                    <a:pt x="95" y="3"/>
                  </a:lnTo>
                  <a:lnTo>
                    <a:pt x="114" y="11"/>
                  </a:lnTo>
                  <a:lnTo>
                    <a:pt x="128" y="22"/>
                  </a:lnTo>
                  <a:lnTo>
                    <a:pt x="140" y="37"/>
                  </a:lnTo>
                  <a:lnTo>
                    <a:pt x="148" y="56"/>
                  </a:lnTo>
                  <a:lnTo>
                    <a:pt x="150" y="75"/>
                  </a:lnTo>
                  <a:lnTo>
                    <a:pt x="150" y="1240"/>
                  </a:lnTo>
                  <a:lnTo>
                    <a:pt x="148" y="1260"/>
                  </a:lnTo>
                  <a:lnTo>
                    <a:pt x="140" y="1279"/>
                  </a:lnTo>
                  <a:lnTo>
                    <a:pt x="128" y="1293"/>
                  </a:lnTo>
                  <a:lnTo>
                    <a:pt x="114" y="1306"/>
                  </a:lnTo>
                  <a:lnTo>
                    <a:pt x="95" y="1313"/>
                  </a:lnTo>
                  <a:lnTo>
                    <a:pt x="75" y="1316"/>
                  </a:lnTo>
                  <a:lnTo>
                    <a:pt x="55" y="1313"/>
                  </a:lnTo>
                  <a:lnTo>
                    <a:pt x="37" y="1306"/>
                  </a:lnTo>
                  <a:lnTo>
                    <a:pt x="22" y="1293"/>
                  </a:lnTo>
                  <a:lnTo>
                    <a:pt x="10" y="1279"/>
                  </a:lnTo>
                  <a:lnTo>
                    <a:pt x="2" y="1260"/>
                  </a:lnTo>
                  <a:lnTo>
                    <a:pt x="0" y="1240"/>
                  </a:lnTo>
                  <a:lnTo>
                    <a:pt x="0" y="75"/>
                  </a:lnTo>
                  <a:lnTo>
                    <a:pt x="2" y="56"/>
                  </a:lnTo>
                  <a:lnTo>
                    <a:pt x="10" y="37"/>
                  </a:lnTo>
                  <a:lnTo>
                    <a:pt x="22" y="22"/>
                  </a:lnTo>
                  <a:lnTo>
                    <a:pt x="37" y="11"/>
                  </a:lnTo>
                  <a:lnTo>
                    <a:pt x="55" y="3"/>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320">
              <a:extLst>
                <a:ext uri="{FF2B5EF4-FFF2-40B4-BE49-F238E27FC236}">
                  <a16:creationId xmlns:a16="http://schemas.microsoft.com/office/drawing/2014/main" id="{8A1CA5A7-37DE-89DC-6E4B-872C21F45C4C}"/>
                </a:ext>
              </a:extLst>
            </p:cNvPr>
            <p:cNvSpPr>
              <a:spLocks/>
            </p:cNvSpPr>
            <p:nvPr/>
          </p:nvSpPr>
          <p:spPr bwMode="auto">
            <a:xfrm>
              <a:off x="3792" y="2451"/>
              <a:ext cx="14" cy="93"/>
            </a:xfrm>
            <a:custGeom>
              <a:avLst/>
              <a:gdLst>
                <a:gd name="T0" fmla="*/ 75 w 152"/>
                <a:gd name="T1" fmla="*/ 0 h 1015"/>
                <a:gd name="T2" fmla="*/ 96 w 152"/>
                <a:gd name="T3" fmla="*/ 2 h 1015"/>
                <a:gd name="T4" fmla="*/ 114 w 152"/>
                <a:gd name="T5" fmla="*/ 9 h 1015"/>
                <a:gd name="T6" fmla="*/ 130 w 152"/>
                <a:gd name="T7" fmla="*/ 22 h 1015"/>
                <a:gd name="T8" fmla="*/ 141 w 152"/>
                <a:gd name="T9" fmla="*/ 36 h 1015"/>
                <a:gd name="T10" fmla="*/ 148 w 152"/>
                <a:gd name="T11" fmla="*/ 55 h 1015"/>
                <a:gd name="T12" fmla="*/ 152 w 152"/>
                <a:gd name="T13" fmla="*/ 75 h 1015"/>
                <a:gd name="T14" fmla="*/ 152 w 152"/>
                <a:gd name="T15" fmla="*/ 939 h 1015"/>
                <a:gd name="T16" fmla="*/ 148 w 152"/>
                <a:gd name="T17" fmla="*/ 959 h 1015"/>
                <a:gd name="T18" fmla="*/ 141 w 152"/>
                <a:gd name="T19" fmla="*/ 978 h 1015"/>
                <a:gd name="T20" fmla="*/ 130 w 152"/>
                <a:gd name="T21" fmla="*/ 992 h 1015"/>
                <a:gd name="T22" fmla="*/ 114 w 152"/>
                <a:gd name="T23" fmla="*/ 1005 h 1015"/>
                <a:gd name="T24" fmla="*/ 96 w 152"/>
                <a:gd name="T25" fmla="*/ 1012 h 1015"/>
                <a:gd name="T26" fmla="*/ 75 w 152"/>
                <a:gd name="T27" fmla="*/ 1015 h 1015"/>
                <a:gd name="T28" fmla="*/ 55 w 152"/>
                <a:gd name="T29" fmla="*/ 1012 h 1015"/>
                <a:gd name="T30" fmla="*/ 37 w 152"/>
                <a:gd name="T31" fmla="*/ 1005 h 1015"/>
                <a:gd name="T32" fmla="*/ 22 w 152"/>
                <a:gd name="T33" fmla="*/ 992 h 1015"/>
                <a:gd name="T34" fmla="*/ 10 w 152"/>
                <a:gd name="T35" fmla="*/ 978 h 1015"/>
                <a:gd name="T36" fmla="*/ 3 w 152"/>
                <a:gd name="T37" fmla="*/ 959 h 1015"/>
                <a:gd name="T38" fmla="*/ 0 w 152"/>
                <a:gd name="T39" fmla="*/ 939 h 1015"/>
                <a:gd name="T40" fmla="*/ 0 w 152"/>
                <a:gd name="T41" fmla="*/ 75 h 1015"/>
                <a:gd name="T42" fmla="*/ 3 w 152"/>
                <a:gd name="T43" fmla="*/ 55 h 1015"/>
                <a:gd name="T44" fmla="*/ 10 w 152"/>
                <a:gd name="T45" fmla="*/ 36 h 1015"/>
                <a:gd name="T46" fmla="*/ 22 w 152"/>
                <a:gd name="T47" fmla="*/ 22 h 1015"/>
                <a:gd name="T48" fmla="*/ 37 w 152"/>
                <a:gd name="T49" fmla="*/ 9 h 1015"/>
                <a:gd name="T50" fmla="*/ 55 w 152"/>
                <a:gd name="T51" fmla="*/ 2 h 1015"/>
                <a:gd name="T52" fmla="*/ 75 w 152"/>
                <a:gd name="T53"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2" h="1015">
                  <a:moveTo>
                    <a:pt x="75" y="0"/>
                  </a:moveTo>
                  <a:lnTo>
                    <a:pt x="96" y="2"/>
                  </a:lnTo>
                  <a:lnTo>
                    <a:pt x="114" y="9"/>
                  </a:lnTo>
                  <a:lnTo>
                    <a:pt x="130" y="22"/>
                  </a:lnTo>
                  <a:lnTo>
                    <a:pt x="141" y="36"/>
                  </a:lnTo>
                  <a:lnTo>
                    <a:pt x="148" y="55"/>
                  </a:lnTo>
                  <a:lnTo>
                    <a:pt x="152" y="75"/>
                  </a:lnTo>
                  <a:lnTo>
                    <a:pt x="152" y="939"/>
                  </a:lnTo>
                  <a:lnTo>
                    <a:pt x="148" y="959"/>
                  </a:lnTo>
                  <a:lnTo>
                    <a:pt x="141" y="978"/>
                  </a:lnTo>
                  <a:lnTo>
                    <a:pt x="130" y="992"/>
                  </a:lnTo>
                  <a:lnTo>
                    <a:pt x="114" y="1005"/>
                  </a:lnTo>
                  <a:lnTo>
                    <a:pt x="96" y="1012"/>
                  </a:lnTo>
                  <a:lnTo>
                    <a:pt x="75" y="1015"/>
                  </a:lnTo>
                  <a:lnTo>
                    <a:pt x="55" y="1012"/>
                  </a:lnTo>
                  <a:lnTo>
                    <a:pt x="37" y="1005"/>
                  </a:lnTo>
                  <a:lnTo>
                    <a:pt x="22" y="992"/>
                  </a:lnTo>
                  <a:lnTo>
                    <a:pt x="10" y="978"/>
                  </a:lnTo>
                  <a:lnTo>
                    <a:pt x="3" y="959"/>
                  </a:lnTo>
                  <a:lnTo>
                    <a:pt x="0" y="939"/>
                  </a:lnTo>
                  <a:lnTo>
                    <a:pt x="0" y="75"/>
                  </a:lnTo>
                  <a:lnTo>
                    <a:pt x="3" y="55"/>
                  </a:lnTo>
                  <a:lnTo>
                    <a:pt x="10" y="36"/>
                  </a:lnTo>
                  <a:lnTo>
                    <a:pt x="22" y="22"/>
                  </a:lnTo>
                  <a:lnTo>
                    <a:pt x="37" y="9"/>
                  </a:lnTo>
                  <a:lnTo>
                    <a:pt x="55" y="2"/>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227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559A69-F753-8F80-EDD6-7D7E41E9F193}"/>
              </a:ext>
            </a:extLst>
          </p:cNvPr>
          <p:cNvSpPr/>
          <p:nvPr/>
        </p:nvSpPr>
        <p:spPr>
          <a:xfrm>
            <a:off x="0" y="0"/>
            <a:ext cx="3498209"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20" name="TextBox 19">
            <a:extLst>
              <a:ext uri="{FF2B5EF4-FFF2-40B4-BE49-F238E27FC236}">
                <a16:creationId xmlns:a16="http://schemas.microsoft.com/office/drawing/2014/main" id="{9D30D053-D0E9-44FB-8AE6-0F71A690D06D}"/>
              </a:ext>
            </a:extLst>
          </p:cNvPr>
          <p:cNvSpPr txBox="1"/>
          <p:nvPr/>
        </p:nvSpPr>
        <p:spPr>
          <a:xfrm>
            <a:off x="10459393" y="5610474"/>
            <a:ext cx="83505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ontserrat"/>
                <a:ea typeface="+mn-ea"/>
                <a:cs typeface="+mn-cs"/>
              </a:rPr>
              <a:t>Page </a:t>
            </a:r>
            <a:fld id="{31162368-E213-4388-85D6-4D6322C03159}" type="slidenum">
              <a:rPr kumimoji="0" lang="en-GB" sz="1100" b="1" i="0" u="none" strike="noStrike" kern="1200" cap="none" spc="0" normalizeH="0" baseline="0" noProof="0" smtClean="0">
                <a:ln>
                  <a:noFill/>
                </a:ln>
                <a:solidFill>
                  <a:srgbClr val="FFFFFF"/>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D" sz="1100" b="1" i="0" u="none" strike="noStrike" kern="1200" cap="none" spc="0" normalizeH="0" baseline="0" noProof="0">
              <a:ln>
                <a:noFill/>
              </a:ln>
              <a:solidFill>
                <a:srgbClr val="FFFFFF"/>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4405204" y="985916"/>
            <a:ext cx="675001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01619"/>
                </a:solidFill>
                <a:effectLst/>
                <a:uLnTx/>
                <a:uFillTx/>
                <a:latin typeface="Montserrat"/>
                <a:ea typeface="+mn-ea"/>
                <a:cs typeface="+mn-cs"/>
              </a:rPr>
              <a:t>Benefits</a:t>
            </a:r>
            <a:r>
              <a:rPr kumimoji="0" lang="en-US" sz="2800" b="1" i="0" u="none" strike="noStrike" kern="1200" cap="none" spc="0" normalizeH="0" noProof="0">
                <a:ln>
                  <a:noFill/>
                </a:ln>
                <a:solidFill>
                  <a:srgbClr val="801619"/>
                </a:solidFill>
                <a:effectLst/>
                <a:uLnTx/>
                <a:uFillTx/>
                <a:latin typeface="Montserrat"/>
                <a:ea typeface="+mn-ea"/>
                <a:cs typeface="+mn-cs"/>
              </a:rPr>
              <a:t> of effective event sustainability</a:t>
            </a:r>
            <a:endParaRPr kumimoji="0" lang="en-ID" sz="2800" b="1" i="0" u="none" strike="noStrike" kern="1200" cap="none" spc="0" normalizeH="0" baseline="0" noProof="0">
              <a:ln>
                <a:noFill/>
              </a:ln>
              <a:solidFill>
                <a:srgbClr val="801619"/>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4400827" y="2103466"/>
            <a:ext cx="6893625" cy="3944157"/>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ontserrat"/>
              </a:rPr>
              <a:t>There are</a:t>
            </a:r>
            <a:r>
              <a:rPr kumimoji="0" lang="en-US" sz="1200" b="0" i="0" u="none" strike="noStrike" kern="1200" cap="none" spc="0" normalizeH="0" noProof="0" dirty="0">
                <a:ln>
                  <a:noFill/>
                </a:ln>
                <a:solidFill>
                  <a:schemeClr val="tx1"/>
                </a:solidFill>
                <a:effectLst/>
                <a:uLnTx/>
                <a:uFillTx/>
                <a:latin typeface="Montserrat"/>
              </a:rPr>
              <a:t> multiple benefits to event organizers and multiple stakeholders, including but not limited to:</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Reduction in negative environmental impacts.</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Delivery of opportunities from both an economic and societal perspective, in particular for those who could be negatively impacted.</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Potential to increase efficiency and reduce costs related to areas such as waste and energy use.</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Increase the ability to comply with relevant legislation and regulatory requirements.</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Be able to demonstrate commitment and leadership related to sustainability through independent certification. </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r>
              <a:rPr lang="en-US" sz="1200" dirty="0">
                <a:solidFill>
                  <a:schemeClr val="tx1"/>
                </a:solidFill>
                <a:latin typeface="Montserrat"/>
              </a:rPr>
              <a:t>For organizations with an ESG strategy or requirement to report alignment to a world-recognized standard, this can be a significant positive.</a:t>
            </a:r>
          </a:p>
          <a:p>
            <a:pPr marL="228600" marR="0" lvl="0" indent="-228600" algn="just" defTabSz="914400" rtl="0" eaLnBrk="1" fontAlgn="auto" latinLnBrk="0" hangingPunct="1">
              <a:lnSpc>
                <a:spcPct val="150000"/>
              </a:lnSpc>
              <a:spcBef>
                <a:spcPts val="0"/>
              </a:spcBef>
              <a:spcAft>
                <a:spcPts val="0"/>
              </a:spcAft>
              <a:buClrTx/>
              <a:buSzTx/>
              <a:buFontTx/>
              <a:buAutoNum type="arabicParenR"/>
              <a:tabLst/>
              <a:defRPr/>
            </a:pPr>
            <a:endParaRPr kumimoji="0" lang="en-US" sz="1200" b="0" i="0" u="none" strike="noStrike" kern="1200" cap="none" spc="0" normalizeH="0" baseline="0" noProof="0" dirty="0">
              <a:ln>
                <a:noFill/>
              </a:ln>
              <a:solidFill>
                <a:schemeClr val="tx1"/>
              </a:solidFill>
              <a:effectLst/>
              <a:uLnTx/>
              <a:uFillTx/>
              <a:latin typeface="Montserrat"/>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Poppins" panose="00000500000000000000" pitchFamily="2" charset="0"/>
            </a:endParaRP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grpSp>
        <p:nvGrpSpPr>
          <p:cNvPr id="4" name="Group 440">
            <a:extLst>
              <a:ext uri="{FF2B5EF4-FFF2-40B4-BE49-F238E27FC236}">
                <a16:creationId xmlns:a16="http://schemas.microsoft.com/office/drawing/2014/main" id="{273FD572-E38F-228C-9615-08CD5E765FF1}"/>
              </a:ext>
            </a:extLst>
          </p:cNvPr>
          <p:cNvGrpSpPr>
            <a:grpSpLocks noChangeAspect="1"/>
          </p:cNvGrpSpPr>
          <p:nvPr/>
        </p:nvGrpSpPr>
        <p:grpSpPr bwMode="auto">
          <a:xfrm>
            <a:off x="660870" y="2298752"/>
            <a:ext cx="2402538" cy="2402538"/>
            <a:chOff x="4495" y="668"/>
            <a:chExt cx="4098" cy="4098"/>
          </a:xfrm>
          <a:solidFill>
            <a:schemeClr val="accent1">
              <a:lumMod val="60000"/>
              <a:lumOff val="40000"/>
            </a:schemeClr>
          </a:solidFill>
        </p:grpSpPr>
        <p:sp>
          <p:nvSpPr>
            <p:cNvPr id="6" name="Freeform 442">
              <a:extLst>
                <a:ext uri="{FF2B5EF4-FFF2-40B4-BE49-F238E27FC236}">
                  <a16:creationId xmlns:a16="http://schemas.microsoft.com/office/drawing/2014/main" id="{2077418B-4F37-A531-FF8A-F24E7C25B084}"/>
                </a:ext>
              </a:extLst>
            </p:cNvPr>
            <p:cNvSpPr>
              <a:spLocks noEditPoints="1"/>
            </p:cNvSpPr>
            <p:nvPr/>
          </p:nvSpPr>
          <p:spPr bwMode="auto">
            <a:xfrm>
              <a:off x="4495" y="668"/>
              <a:ext cx="4098" cy="4098"/>
            </a:xfrm>
            <a:custGeom>
              <a:avLst/>
              <a:gdLst>
                <a:gd name="T0" fmla="*/ 1698 w 4098"/>
                <a:gd name="T1" fmla="*/ 196 h 4098"/>
                <a:gd name="T2" fmla="*/ 1264 w 4098"/>
                <a:gd name="T3" fmla="*/ 334 h 4098"/>
                <a:gd name="T4" fmla="*/ 883 w 4098"/>
                <a:gd name="T5" fmla="*/ 569 h 4098"/>
                <a:gd name="T6" fmla="*/ 569 w 4098"/>
                <a:gd name="T7" fmla="*/ 883 h 4098"/>
                <a:gd name="T8" fmla="*/ 334 w 4098"/>
                <a:gd name="T9" fmla="*/ 1264 h 4098"/>
                <a:gd name="T10" fmla="*/ 196 w 4098"/>
                <a:gd name="T11" fmla="*/ 1698 h 4098"/>
                <a:gd name="T12" fmla="*/ 166 w 4098"/>
                <a:gd name="T13" fmla="*/ 2168 h 4098"/>
                <a:gd name="T14" fmla="*/ 252 w 4098"/>
                <a:gd name="T15" fmla="*/ 2623 h 4098"/>
                <a:gd name="T16" fmla="*/ 441 w 4098"/>
                <a:gd name="T17" fmla="*/ 3033 h 4098"/>
                <a:gd name="T18" fmla="*/ 717 w 4098"/>
                <a:gd name="T19" fmla="*/ 3381 h 4098"/>
                <a:gd name="T20" fmla="*/ 1065 w 4098"/>
                <a:gd name="T21" fmla="*/ 3657 h 4098"/>
                <a:gd name="T22" fmla="*/ 1475 w 4098"/>
                <a:gd name="T23" fmla="*/ 3846 h 4098"/>
                <a:gd name="T24" fmla="*/ 1930 w 4098"/>
                <a:gd name="T25" fmla="*/ 3932 h 4098"/>
                <a:gd name="T26" fmla="*/ 2400 w 4098"/>
                <a:gd name="T27" fmla="*/ 3902 h 4098"/>
                <a:gd name="T28" fmla="*/ 2834 w 4098"/>
                <a:gd name="T29" fmla="*/ 3764 h 4098"/>
                <a:gd name="T30" fmla="*/ 3215 w 4098"/>
                <a:gd name="T31" fmla="*/ 3529 h 4098"/>
                <a:gd name="T32" fmla="*/ 3529 w 4098"/>
                <a:gd name="T33" fmla="*/ 3215 h 4098"/>
                <a:gd name="T34" fmla="*/ 3764 w 4098"/>
                <a:gd name="T35" fmla="*/ 2834 h 4098"/>
                <a:gd name="T36" fmla="*/ 3902 w 4098"/>
                <a:gd name="T37" fmla="*/ 2400 h 4098"/>
                <a:gd name="T38" fmla="*/ 3932 w 4098"/>
                <a:gd name="T39" fmla="*/ 1930 h 4098"/>
                <a:gd name="T40" fmla="*/ 3846 w 4098"/>
                <a:gd name="T41" fmla="*/ 1475 h 4098"/>
                <a:gd name="T42" fmla="*/ 3657 w 4098"/>
                <a:gd name="T43" fmla="*/ 1065 h 4098"/>
                <a:gd name="T44" fmla="*/ 3381 w 4098"/>
                <a:gd name="T45" fmla="*/ 717 h 4098"/>
                <a:gd name="T46" fmla="*/ 3033 w 4098"/>
                <a:gd name="T47" fmla="*/ 441 h 4098"/>
                <a:gd name="T48" fmla="*/ 2623 w 4098"/>
                <a:gd name="T49" fmla="*/ 252 h 4098"/>
                <a:gd name="T50" fmla="*/ 2168 w 4098"/>
                <a:gd name="T51" fmla="*/ 166 h 4098"/>
                <a:gd name="T52" fmla="*/ 2281 w 4098"/>
                <a:gd name="T53" fmla="*/ 12 h 4098"/>
                <a:gd name="T54" fmla="*/ 2727 w 4098"/>
                <a:gd name="T55" fmla="*/ 114 h 4098"/>
                <a:gd name="T56" fmla="*/ 3137 w 4098"/>
                <a:gd name="T57" fmla="*/ 312 h 4098"/>
                <a:gd name="T58" fmla="*/ 3498 w 4098"/>
                <a:gd name="T59" fmla="*/ 600 h 4098"/>
                <a:gd name="T60" fmla="*/ 3786 w 4098"/>
                <a:gd name="T61" fmla="*/ 961 h 4098"/>
                <a:gd name="T62" fmla="*/ 3984 w 4098"/>
                <a:gd name="T63" fmla="*/ 1371 h 4098"/>
                <a:gd name="T64" fmla="*/ 4086 w 4098"/>
                <a:gd name="T65" fmla="*/ 1817 h 4098"/>
                <a:gd name="T66" fmla="*/ 4086 w 4098"/>
                <a:gd name="T67" fmla="*/ 2281 h 4098"/>
                <a:gd name="T68" fmla="*/ 3984 w 4098"/>
                <a:gd name="T69" fmla="*/ 2727 h 4098"/>
                <a:gd name="T70" fmla="*/ 3786 w 4098"/>
                <a:gd name="T71" fmla="*/ 3137 h 4098"/>
                <a:gd name="T72" fmla="*/ 3498 w 4098"/>
                <a:gd name="T73" fmla="*/ 3498 h 4098"/>
                <a:gd name="T74" fmla="*/ 3137 w 4098"/>
                <a:gd name="T75" fmla="*/ 3786 h 4098"/>
                <a:gd name="T76" fmla="*/ 2727 w 4098"/>
                <a:gd name="T77" fmla="*/ 3984 h 4098"/>
                <a:gd name="T78" fmla="*/ 2281 w 4098"/>
                <a:gd name="T79" fmla="*/ 4086 h 4098"/>
                <a:gd name="T80" fmla="*/ 1817 w 4098"/>
                <a:gd name="T81" fmla="*/ 4086 h 4098"/>
                <a:gd name="T82" fmla="*/ 1371 w 4098"/>
                <a:gd name="T83" fmla="*/ 3984 h 4098"/>
                <a:gd name="T84" fmla="*/ 961 w 4098"/>
                <a:gd name="T85" fmla="*/ 3786 h 4098"/>
                <a:gd name="T86" fmla="*/ 600 w 4098"/>
                <a:gd name="T87" fmla="*/ 3498 h 4098"/>
                <a:gd name="T88" fmla="*/ 312 w 4098"/>
                <a:gd name="T89" fmla="*/ 3137 h 4098"/>
                <a:gd name="T90" fmla="*/ 114 w 4098"/>
                <a:gd name="T91" fmla="*/ 2727 h 4098"/>
                <a:gd name="T92" fmla="*/ 12 w 4098"/>
                <a:gd name="T93" fmla="*/ 2281 h 4098"/>
                <a:gd name="T94" fmla="*/ 12 w 4098"/>
                <a:gd name="T95" fmla="*/ 1817 h 4098"/>
                <a:gd name="T96" fmla="*/ 114 w 4098"/>
                <a:gd name="T97" fmla="*/ 1371 h 4098"/>
                <a:gd name="T98" fmla="*/ 312 w 4098"/>
                <a:gd name="T99" fmla="*/ 961 h 4098"/>
                <a:gd name="T100" fmla="*/ 600 w 4098"/>
                <a:gd name="T101" fmla="*/ 600 h 4098"/>
                <a:gd name="T102" fmla="*/ 961 w 4098"/>
                <a:gd name="T103" fmla="*/ 312 h 4098"/>
                <a:gd name="T104" fmla="*/ 1371 w 4098"/>
                <a:gd name="T105" fmla="*/ 114 h 4098"/>
                <a:gd name="T106" fmla="*/ 1817 w 4098"/>
                <a:gd name="T107" fmla="*/ 12 h 40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98" h="4098">
                  <a:moveTo>
                    <a:pt x="2049" y="163"/>
                  </a:moveTo>
                  <a:lnTo>
                    <a:pt x="1930" y="166"/>
                  </a:lnTo>
                  <a:lnTo>
                    <a:pt x="1813" y="178"/>
                  </a:lnTo>
                  <a:lnTo>
                    <a:pt x="1698" y="196"/>
                  </a:lnTo>
                  <a:lnTo>
                    <a:pt x="1586" y="221"/>
                  </a:lnTo>
                  <a:lnTo>
                    <a:pt x="1475" y="252"/>
                  </a:lnTo>
                  <a:lnTo>
                    <a:pt x="1368" y="291"/>
                  </a:lnTo>
                  <a:lnTo>
                    <a:pt x="1264" y="334"/>
                  </a:lnTo>
                  <a:lnTo>
                    <a:pt x="1164" y="385"/>
                  </a:lnTo>
                  <a:lnTo>
                    <a:pt x="1065" y="441"/>
                  </a:lnTo>
                  <a:lnTo>
                    <a:pt x="972" y="502"/>
                  </a:lnTo>
                  <a:lnTo>
                    <a:pt x="883" y="569"/>
                  </a:lnTo>
                  <a:lnTo>
                    <a:pt x="797" y="640"/>
                  </a:lnTo>
                  <a:lnTo>
                    <a:pt x="717" y="717"/>
                  </a:lnTo>
                  <a:lnTo>
                    <a:pt x="640" y="797"/>
                  </a:lnTo>
                  <a:lnTo>
                    <a:pt x="569" y="883"/>
                  </a:lnTo>
                  <a:lnTo>
                    <a:pt x="502" y="972"/>
                  </a:lnTo>
                  <a:lnTo>
                    <a:pt x="441" y="1065"/>
                  </a:lnTo>
                  <a:lnTo>
                    <a:pt x="385" y="1164"/>
                  </a:lnTo>
                  <a:lnTo>
                    <a:pt x="334" y="1264"/>
                  </a:lnTo>
                  <a:lnTo>
                    <a:pt x="291" y="1368"/>
                  </a:lnTo>
                  <a:lnTo>
                    <a:pt x="252" y="1475"/>
                  </a:lnTo>
                  <a:lnTo>
                    <a:pt x="221" y="1586"/>
                  </a:lnTo>
                  <a:lnTo>
                    <a:pt x="196" y="1698"/>
                  </a:lnTo>
                  <a:lnTo>
                    <a:pt x="178" y="1813"/>
                  </a:lnTo>
                  <a:lnTo>
                    <a:pt x="166" y="1930"/>
                  </a:lnTo>
                  <a:lnTo>
                    <a:pt x="163" y="2049"/>
                  </a:lnTo>
                  <a:lnTo>
                    <a:pt x="166" y="2168"/>
                  </a:lnTo>
                  <a:lnTo>
                    <a:pt x="178" y="2285"/>
                  </a:lnTo>
                  <a:lnTo>
                    <a:pt x="196" y="2400"/>
                  </a:lnTo>
                  <a:lnTo>
                    <a:pt x="221" y="2512"/>
                  </a:lnTo>
                  <a:lnTo>
                    <a:pt x="252" y="2623"/>
                  </a:lnTo>
                  <a:lnTo>
                    <a:pt x="291" y="2730"/>
                  </a:lnTo>
                  <a:lnTo>
                    <a:pt x="334" y="2834"/>
                  </a:lnTo>
                  <a:lnTo>
                    <a:pt x="385" y="2934"/>
                  </a:lnTo>
                  <a:lnTo>
                    <a:pt x="441" y="3033"/>
                  </a:lnTo>
                  <a:lnTo>
                    <a:pt x="502" y="3126"/>
                  </a:lnTo>
                  <a:lnTo>
                    <a:pt x="569" y="3215"/>
                  </a:lnTo>
                  <a:lnTo>
                    <a:pt x="640" y="3301"/>
                  </a:lnTo>
                  <a:lnTo>
                    <a:pt x="717" y="3381"/>
                  </a:lnTo>
                  <a:lnTo>
                    <a:pt x="797" y="3458"/>
                  </a:lnTo>
                  <a:lnTo>
                    <a:pt x="883" y="3529"/>
                  </a:lnTo>
                  <a:lnTo>
                    <a:pt x="972" y="3596"/>
                  </a:lnTo>
                  <a:lnTo>
                    <a:pt x="1065" y="3657"/>
                  </a:lnTo>
                  <a:lnTo>
                    <a:pt x="1164" y="3713"/>
                  </a:lnTo>
                  <a:lnTo>
                    <a:pt x="1264" y="3764"/>
                  </a:lnTo>
                  <a:lnTo>
                    <a:pt x="1368" y="3807"/>
                  </a:lnTo>
                  <a:lnTo>
                    <a:pt x="1475" y="3846"/>
                  </a:lnTo>
                  <a:lnTo>
                    <a:pt x="1586" y="3877"/>
                  </a:lnTo>
                  <a:lnTo>
                    <a:pt x="1698" y="3902"/>
                  </a:lnTo>
                  <a:lnTo>
                    <a:pt x="1813" y="3920"/>
                  </a:lnTo>
                  <a:lnTo>
                    <a:pt x="1930" y="3932"/>
                  </a:lnTo>
                  <a:lnTo>
                    <a:pt x="2049" y="3935"/>
                  </a:lnTo>
                  <a:lnTo>
                    <a:pt x="2168" y="3932"/>
                  </a:lnTo>
                  <a:lnTo>
                    <a:pt x="2285" y="3920"/>
                  </a:lnTo>
                  <a:lnTo>
                    <a:pt x="2400" y="3902"/>
                  </a:lnTo>
                  <a:lnTo>
                    <a:pt x="2512" y="3877"/>
                  </a:lnTo>
                  <a:lnTo>
                    <a:pt x="2623" y="3846"/>
                  </a:lnTo>
                  <a:lnTo>
                    <a:pt x="2730" y="3807"/>
                  </a:lnTo>
                  <a:lnTo>
                    <a:pt x="2834" y="3764"/>
                  </a:lnTo>
                  <a:lnTo>
                    <a:pt x="2934" y="3713"/>
                  </a:lnTo>
                  <a:lnTo>
                    <a:pt x="3033" y="3657"/>
                  </a:lnTo>
                  <a:lnTo>
                    <a:pt x="3126" y="3596"/>
                  </a:lnTo>
                  <a:lnTo>
                    <a:pt x="3215" y="3529"/>
                  </a:lnTo>
                  <a:lnTo>
                    <a:pt x="3301" y="3458"/>
                  </a:lnTo>
                  <a:lnTo>
                    <a:pt x="3381" y="3381"/>
                  </a:lnTo>
                  <a:lnTo>
                    <a:pt x="3458" y="3301"/>
                  </a:lnTo>
                  <a:lnTo>
                    <a:pt x="3529" y="3215"/>
                  </a:lnTo>
                  <a:lnTo>
                    <a:pt x="3596" y="3126"/>
                  </a:lnTo>
                  <a:lnTo>
                    <a:pt x="3657" y="3033"/>
                  </a:lnTo>
                  <a:lnTo>
                    <a:pt x="3713" y="2934"/>
                  </a:lnTo>
                  <a:lnTo>
                    <a:pt x="3764" y="2834"/>
                  </a:lnTo>
                  <a:lnTo>
                    <a:pt x="3807" y="2730"/>
                  </a:lnTo>
                  <a:lnTo>
                    <a:pt x="3846" y="2623"/>
                  </a:lnTo>
                  <a:lnTo>
                    <a:pt x="3877" y="2512"/>
                  </a:lnTo>
                  <a:lnTo>
                    <a:pt x="3902" y="2400"/>
                  </a:lnTo>
                  <a:lnTo>
                    <a:pt x="3920" y="2285"/>
                  </a:lnTo>
                  <a:lnTo>
                    <a:pt x="3932" y="2168"/>
                  </a:lnTo>
                  <a:lnTo>
                    <a:pt x="3935" y="2049"/>
                  </a:lnTo>
                  <a:lnTo>
                    <a:pt x="3932" y="1930"/>
                  </a:lnTo>
                  <a:lnTo>
                    <a:pt x="3920" y="1813"/>
                  </a:lnTo>
                  <a:lnTo>
                    <a:pt x="3902" y="1698"/>
                  </a:lnTo>
                  <a:lnTo>
                    <a:pt x="3877" y="1586"/>
                  </a:lnTo>
                  <a:lnTo>
                    <a:pt x="3846" y="1475"/>
                  </a:lnTo>
                  <a:lnTo>
                    <a:pt x="3807" y="1368"/>
                  </a:lnTo>
                  <a:lnTo>
                    <a:pt x="3764" y="1264"/>
                  </a:lnTo>
                  <a:lnTo>
                    <a:pt x="3713" y="1164"/>
                  </a:lnTo>
                  <a:lnTo>
                    <a:pt x="3657" y="1065"/>
                  </a:lnTo>
                  <a:lnTo>
                    <a:pt x="3596" y="972"/>
                  </a:lnTo>
                  <a:lnTo>
                    <a:pt x="3529" y="883"/>
                  </a:lnTo>
                  <a:lnTo>
                    <a:pt x="3458" y="797"/>
                  </a:lnTo>
                  <a:lnTo>
                    <a:pt x="3381" y="717"/>
                  </a:lnTo>
                  <a:lnTo>
                    <a:pt x="3301" y="640"/>
                  </a:lnTo>
                  <a:lnTo>
                    <a:pt x="3215" y="569"/>
                  </a:lnTo>
                  <a:lnTo>
                    <a:pt x="3126" y="502"/>
                  </a:lnTo>
                  <a:lnTo>
                    <a:pt x="3033" y="441"/>
                  </a:lnTo>
                  <a:lnTo>
                    <a:pt x="2934" y="385"/>
                  </a:lnTo>
                  <a:lnTo>
                    <a:pt x="2834" y="334"/>
                  </a:lnTo>
                  <a:lnTo>
                    <a:pt x="2730" y="291"/>
                  </a:lnTo>
                  <a:lnTo>
                    <a:pt x="2623" y="252"/>
                  </a:lnTo>
                  <a:lnTo>
                    <a:pt x="2512" y="221"/>
                  </a:lnTo>
                  <a:lnTo>
                    <a:pt x="2400" y="196"/>
                  </a:lnTo>
                  <a:lnTo>
                    <a:pt x="2285" y="178"/>
                  </a:lnTo>
                  <a:lnTo>
                    <a:pt x="2168" y="166"/>
                  </a:lnTo>
                  <a:lnTo>
                    <a:pt x="2049" y="163"/>
                  </a:lnTo>
                  <a:close/>
                  <a:moveTo>
                    <a:pt x="2049" y="0"/>
                  </a:moveTo>
                  <a:lnTo>
                    <a:pt x="2166" y="4"/>
                  </a:lnTo>
                  <a:lnTo>
                    <a:pt x="2281" y="12"/>
                  </a:lnTo>
                  <a:lnTo>
                    <a:pt x="2395" y="29"/>
                  </a:lnTo>
                  <a:lnTo>
                    <a:pt x="2508" y="51"/>
                  </a:lnTo>
                  <a:lnTo>
                    <a:pt x="2619" y="79"/>
                  </a:lnTo>
                  <a:lnTo>
                    <a:pt x="2727" y="114"/>
                  </a:lnTo>
                  <a:lnTo>
                    <a:pt x="2834" y="155"/>
                  </a:lnTo>
                  <a:lnTo>
                    <a:pt x="2937" y="201"/>
                  </a:lnTo>
                  <a:lnTo>
                    <a:pt x="3039" y="253"/>
                  </a:lnTo>
                  <a:lnTo>
                    <a:pt x="3137" y="312"/>
                  </a:lnTo>
                  <a:lnTo>
                    <a:pt x="3232" y="376"/>
                  </a:lnTo>
                  <a:lnTo>
                    <a:pt x="3324" y="445"/>
                  </a:lnTo>
                  <a:lnTo>
                    <a:pt x="3413" y="520"/>
                  </a:lnTo>
                  <a:lnTo>
                    <a:pt x="3498" y="600"/>
                  </a:lnTo>
                  <a:lnTo>
                    <a:pt x="3578" y="685"/>
                  </a:lnTo>
                  <a:lnTo>
                    <a:pt x="3653" y="774"/>
                  </a:lnTo>
                  <a:lnTo>
                    <a:pt x="3722" y="866"/>
                  </a:lnTo>
                  <a:lnTo>
                    <a:pt x="3786" y="961"/>
                  </a:lnTo>
                  <a:lnTo>
                    <a:pt x="3845" y="1059"/>
                  </a:lnTo>
                  <a:lnTo>
                    <a:pt x="3897" y="1161"/>
                  </a:lnTo>
                  <a:lnTo>
                    <a:pt x="3943" y="1264"/>
                  </a:lnTo>
                  <a:lnTo>
                    <a:pt x="3984" y="1371"/>
                  </a:lnTo>
                  <a:lnTo>
                    <a:pt x="4019" y="1479"/>
                  </a:lnTo>
                  <a:lnTo>
                    <a:pt x="4047" y="1590"/>
                  </a:lnTo>
                  <a:lnTo>
                    <a:pt x="4069" y="1703"/>
                  </a:lnTo>
                  <a:lnTo>
                    <a:pt x="4086" y="1817"/>
                  </a:lnTo>
                  <a:lnTo>
                    <a:pt x="4094" y="1932"/>
                  </a:lnTo>
                  <a:lnTo>
                    <a:pt x="4098" y="2049"/>
                  </a:lnTo>
                  <a:lnTo>
                    <a:pt x="4094" y="2166"/>
                  </a:lnTo>
                  <a:lnTo>
                    <a:pt x="4086" y="2281"/>
                  </a:lnTo>
                  <a:lnTo>
                    <a:pt x="4069" y="2395"/>
                  </a:lnTo>
                  <a:lnTo>
                    <a:pt x="4047" y="2508"/>
                  </a:lnTo>
                  <a:lnTo>
                    <a:pt x="4019" y="2619"/>
                  </a:lnTo>
                  <a:lnTo>
                    <a:pt x="3984" y="2727"/>
                  </a:lnTo>
                  <a:lnTo>
                    <a:pt x="3943" y="2834"/>
                  </a:lnTo>
                  <a:lnTo>
                    <a:pt x="3897" y="2937"/>
                  </a:lnTo>
                  <a:lnTo>
                    <a:pt x="3845" y="3039"/>
                  </a:lnTo>
                  <a:lnTo>
                    <a:pt x="3786" y="3137"/>
                  </a:lnTo>
                  <a:lnTo>
                    <a:pt x="3722" y="3232"/>
                  </a:lnTo>
                  <a:lnTo>
                    <a:pt x="3653" y="3324"/>
                  </a:lnTo>
                  <a:lnTo>
                    <a:pt x="3578" y="3413"/>
                  </a:lnTo>
                  <a:lnTo>
                    <a:pt x="3498" y="3498"/>
                  </a:lnTo>
                  <a:lnTo>
                    <a:pt x="3413" y="3578"/>
                  </a:lnTo>
                  <a:lnTo>
                    <a:pt x="3324" y="3653"/>
                  </a:lnTo>
                  <a:lnTo>
                    <a:pt x="3232" y="3722"/>
                  </a:lnTo>
                  <a:lnTo>
                    <a:pt x="3137" y="3786"/>
                  </a:lnTo>
                  <a:lnTo>
                    <a:pt x="3039" y="3845"/>
                  </a:lnTo>
                  <a:lnTo>
                    <a:pt x="2937" y="3897"/>
                  </a:lnTo>
                  <a:lnTo>
                    <a:pt x="2834" y="3943"/>
                  </a:lnTo>
                  <a:lnTo>
                    <a:pt x="2727" y="3984"/>
                  </a:lnTo>
                  <a:lnTo>
                    <a:pt x="2619" y="4019"/>
                  </a:lnTo>
                  <a:lnTo>
                    <a:pt x="2508" y="4047"/>
                  </a:lnTo>
                  <a:lnTo>
                    <a:pt x="2395" y="4069"/>
                  </a:lnTo>
                  <a:lnTo>
                    <a:pt x="2281" y="4086"/>
                  </a:lnTo>
                  <a:lnTo>
                    <a:pt x="2166" y="4094"/>
                  </a:lnTo>
                  <a:lnTo>
                    <a:pt x="2049" y="4098"/>
                  </a:lnTo>
                  <a:lnTo>
                    <a:pt x="1932" y="4094"/>
                  </a:lnTo>
                  <a:lnTo>
                    <a:pt x="1817" y="4086"/>
                  </a:lnTo>
                  <a:lnTo>
                    <a:pt x="1703" y="4069"/>
                  </a:lnTo>
                  <a:lnTo>
                    <a:pt x="1590" y="4047"/>
                  </a:lnTo>
                  <a:lnTo>
                    <a:pt x="1479" y="4019"/>
                  </a:lnTo>
                  <a:lnTo>
                    <a:pt x="1371" y="3984"/>
                  </a:lnTo>
                  <a:lnTo>
                    <a:pt x="1264" y="3943"/>
                  </a:lnTo>
                  <a:lnTo>
                    <a:pt x="1161" y="3897"/>
                  </a:lnTo>
                  <a:lnTo>
                    <a:pt x="1059" y="3845"/>
                  </a:lnTo>
                  <a:lnTo>
                    <a:pt x="961" y="3786"/>
                  </a:lnTo>
                  <a:lnTo>
                    <a:pt x="866" y="3722"/>
                  </a:lnTo>
                  <a:lnTo>
                    <a:pt x="774" y="3653"/>
                  </a:lnTo>
                  <a:lnTo>
                    <a:pt x="685" y="3578"/>
                  </a:lnTo>
                  <a:lnTo>
                    <a:pt x="600" y="3498"/>
                  </a:lnTo>
                  <a:lnTo>
                    <a:pt x="520" y="3413"/>
                  </a:lnTo>
                  <a:lnTo>
                    <a:pt x="445" y="3324"/>
                  </a:lnTo>
                  <a:lnTo>
                    <a:pt x="376" y="3232"/>
                  </a:lnTo>
                  <a:lnTo>
                    <a:pt x="312" y="3137"/>
                  </a:lnTo>
                  <a:lnTo>
                    <a:pt x="253" y="3039"/>
                  </a:lnTo>
                  <a:lnTo>
                    <a:pt x="201" y="2937"/>
                  </a:lnTo>
                  <a:lnTo>
                    <a:pt x="155" y="2834"/>
                  </a:lnTo>
                  <a:lnTo>
                    <a:pt x="114" y="2727"/>
                  </a:lnTo>
                  <a:lnTo>
                    <a:pt x="79" y="2619"/>
                  </a:lnTo>
                  <a:lnTo>
                    <a:pt x="51" y="2508"/>
                  </a:lnTo>
                  <a:lnTo>
                    <a:pt x="29" y="2395"/>
                  </a:lnTo>
                  <a:lnTo>
                    <a:pt x="12" y="2281"/>
                  </a:lnTo>
                  <a:lnTo>
                    <a:pt x="4" y="2166"/>
                  </a:lnTo>
                  <a:lnTo>
                    <a:pt x="0" y="2049"/>
                  </a:lnTo>
                  <a:lnTo>
                    <a:pt x="4" y="1932"/>
                  </a:lnTo>
                  <a:lnTo>
                    <a:pt x="12" y="1817"/>
                  </a:lnTo>
                  <a:lnTo>
                    <a:pt x="29" y="1703"/>
                  </a:lnTo>
                  <a:lnTo>
                    <a:pt x="51" y="1590"/>
                  </a:lnTo>
                  <a:lnTo>
                    <a:pt x="79" y="1479"/>
                  </a:lnTo>
                  <a:lnTo>
                    <a:pt x="114" y="1371"/>
                  </a:lnTo>
                  <a:lnTo>
                    <a:pt x="155" y="1264"/>
                  </a:lnTo>
                  <a:lnTo>
                    <a:pt x="201" y="1161"/>
                  </a:lnTo>
                  <a:lnTo>
                    <a:pt x="253" y="1059"/>
                  </a:lnTo>
                  <a:lnTo>
                    <a:pt x="312" y="961"/>
                  </a:lnTo>
                  <a:lnTo>
                    <a:pt x="376" y="866"/>
                  </a:lnTo>
                  <a:lnTo>
                    <a:pt x="445" y="774"/>
                  </a:lnTo>
                  <a:lnTo>
                    <a:pt x="520" y="685"/>
                  </a:lnTo>
                  <a:lnTo>
                    <a:pt x="600" y="600"/>
                  </a:lnTo>
                  <a:lnTo>
                    <a:pt x="685" y="520"/>
                  </a:lnTo>
                  <a:lnTo>
                    <a:pt x="774" y="445"/>
                  </a:lnTo>
                  <a:lnTo>
                    <a:pt x="866" y="376"/>
                  </a:lnTo>
                  <a:lnTo>
                    <a:pt x="961" y="312"/>
                  </a:lnTo>
                  <a:lnTo>
                    <a:pt x="1059" y="253"/>
                  </a:lnTo>
                  <a:lnTo>
                    <a:pt x="1161" y="201"/>
                  </a:lnTo>
                  <a:lnTo>
                    <a:pt x="1264" y="155"/>
                  </a:lnTo>
                  <a:lnTo>
                    <a:pt x="1371" y="114"/>
                  </a:lnTo>
                  <a:lnTo>
                    <a:pt x="1479" y="79"/>
                  </a:lnTo>
                  <a:lnTo>
                    <a:pt x="1590" y="51"/>
                  </a:lnTo>
                  <a:lnTo>
                    <a:pt x="1703" y="29"/>
                  </a:lnTo>
                  <a:lnTo>
                    <a:pt x="1817" y="12"/>
                  </a:lnTo>
                  <a:lnTo>
                    <a:pt x="1932" y="4"/>
                  </a:lnTo>
                  <a:lnTo>
                    <a:pt x="20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443">
              <a:extLst>
                <a:ext uri="{FF2B5EF4-FFF2-40B4-BE49-F238E27FC236}">
                  <a16:creationId xmlns:a16="http://schemas.microsoft.com/office/drawing/2014/main" id="{A966F6E6-4C80-188D-7572-96AE126E52DC}"/>
                </a:ext>
              </a:extLst>
            </p:cNvPr>
            <p:cNvSpPr>
              <a:spLocks noEditPoints="1"/>
            </p:cNvSpPr>
            <p:nvPr/>
          </p:nvSpPr>
          <p:spPr bwMode="auto">
            <a:xfrm>
              <a:off x="5223" y="1755"/>
              <a:ext cx="2569" cy="1974"/>
            </a:xfrm>
            <a:custGeom>
              <a:avLst/>
              <a:gdLst>
                <a:gd name="T0" fmla="*/ 2245 w 2569"/>
                <a:gd name="T1" fmla="*/ 168 h 1974"/>
                <a:gd name="T2" fmla="*/ 2198 w 2569"/>
                <a:gd name="T3" fmla="*/ 198 h 1974"/>
                <a:gd name="T4" fmla="*/ 920 w 2569"/>
                <a:gd name="T5" fmla="*/ 1471 h 1974"/>
                <a:gd name="T6" fmla="*/ 880 w 2569"/>
                <a:gd name="T7" fmla="*/ 1481 h 1974"/>
                <a:gd name="T8" fmla="*/ 840 w 2569"/>
                <a:gd name="T9" fmla="*/ 1471 h 1974"/>
                <a:gd name="T10" fmla="*/ 371 w 2569"/>
                <a:gd name="T11" fmla="*/ 1005 h 1974"/>
                <a:gd name="T12" fmla="*/ 330 w 2569"/>
                <a:gd name="T13" fmla="*/ 979 h 1974"/>
                <a:gd name="T14" fmla="*/ 284 w 2569"/>
                <a:gd name="T15" fmla="*/ 971 h 1974"/>
                <a:gd name="T16" fmla="*/ 238 w 2569"/>
                <a:gd name="T17" fmla="*/ 979 h 1974"/>
                <a:gd name="T18" fmla="*/ 197 w 2569"/>
                <a:gd name="T19" fmla="*/ 1005 h 1974"/>
                <a:gd name="T20" fmla="*/ 169 w 2569"/>
                <a:gd name="T21" fmla="*/ 1053 h 1974"/>
                <a:gd name="T22" fmla="*/ 162 w 2569"/>
                <a:gd name="T23" fmla="*/ 1106 h 1974"/>
                <a:gd name="T24" fmla="*/ 180 w 2569"/>
                <a:gd name="T25" fmla="*/ 1157 h 1974"/>
                <a:gd name="T26" fmla="*/ 793 w 2569"/>
                <a:gd name="T27" fmla="*/ 1775 h 1974"/>
                <a:gd name="T28" fmla="*/ 833 w 2569"/>
                <a:gd name="T29" fmla="*/ 1801 h 1974"/>
                <a:gd name="T30" fmla="*/ 880 w 2569"/>
                <a:gd name="T31" fmla="*/ 1811 h 1974"/>
                <a:gd name="T32" fmla="*/ 927 w 2569"/>
                <a:gd name="T33" fmla="*/ 1801 h 1974"/>
                <a:gd name="T34" fmla="*/ 967 w 2569"/>
                <a:gd name="T35" fmla="*/ 1775 h 1974"/>
                <a:gd name="T36" fmla="*/ 2389 w 2569"/>
                <a:gd name="T37" fmla="*/ 349 h 1974"/>
                <a:gd name="T38" fmla="*/ 2406 w 2569"/>
                <a:gd name="T39" fmla="*/ 298 h 1974"/>
                <a:gd name="T40" fmla="*/ 2400 w 2569"/>
                <a:gd name="T41" fmla="*/ 244 h 1974"/>
                <a:gd name="T42" fmla="*/ 2370 w 2569"/>
                <a:gd name="T43" fmla="*/ 198 h 1974"/>
                <a:gd name="T44" fmla="*/ 2324 w 2569"/>
                <a:gd name="T45" fmla="*/ 168 h 1974"/>
                <a:gd name="T46" fmla="*/ 2271 w 2569"/>
                <a:gd name="T47" fmla="*/ 162 h 1974"/>
                <a:gd name="T48" fmla="*/ 2305 w 2569"/>
                <a:gd name="T49" fmla="*/ 0 h 1974"/>
                <a:gd name="T50" fmla="*/ 2383 w 2569"/>
                <a:gd name="T51" fmla="*/ 16 h 1974"/>
                <a:gd name="T52" fmla="*/ 2455 w 2569"/>
                <a:gd name="T53" fmla="*/ 54 h 1974"/>
                <a:gd name="T54" fmla="*/ 2514 w 2569"/>
                <a:gd name="T55" fmla="*/ 114 h 1974"/>
                <a:gd name="T56" fmla="*/ 2553 w 2569"/>
                <a:gd name="T57" fmla="*/ 186 h 1974"/>
                <a:gd name="T58" fmla="*/ 2569 w 2569"/>
                <a:gd name="T59" fmla="*/ 264 h 1974"/>
                <a:gd name="T60" fmla="*/ 2564 w 2569"/>
                <a:gd name="T61" fmla="*/ 344 h 1974"/>
                <a:gd name="T62" fmla="*/ 2535 w 2569"/>
                <a:gd name="T63" fmla="*/ 419 h 1974"/>
                <a:gd name="T64" fmla="*/ 2486 w 2569"/>
                <a:gd name="T65" fmla="*/ 486 h 1974"/>
                <a:gd name="T66" fmla="*/ 1054 w 2569"/>
                <a:gd name="T67" fmla="*/ 1916 h 1974"/>
                <a:gd name="T68" fmla="*/ 989 w 2569"/>
                <a:gd name="T69" fmla="*/ 1953 h 1974"/>
                <a:gd name="T70" fmla="*/ 917 w 2569"/>
                <a:gd name="T71" fmla="*/ 1972 h 1974"/>
                <a:gd name="T72" fmla="*/ 843 w 2569"/>
                <a:gd name="T73" fmla="*/ 1972 h 1974"/>
                <a:gd name="T74" fmla="*/ 771 w 2569"/>
                <a:gd name="T75" fmla="*/ 1953 h 1974"/>
                <a:gd name="T76" fmla="*/ 706 w 2569"/>
                <a:gd name="T77" fmla="*/ 1916 h 1974"/>
                <a:gd name="T78" fmla="*/ 82 w 2569"/>
                <a:gd name="T79" fmla="*/ 1295 h 1974"/>
                <a:gd name="T80" fmla="*/ 32 w 2569"/>
                <a:gd name="T81" fmla="*/ 1228 h 1974"/>
                <a:gd name="T82" fmla="*/ 5 w 2569"/>
                <a:gd name="T83" fmla="*/ 1152 h 1974"/>
                <a:gd name="T84" fmla="*/ 0 w 2569"/>
                <a:gd name="T85" fmla="*/ 1073 h 1974"/>
                <a:gd name="T86" fmla="*/ 16 w 2569"/>
                <a:gd name="T87" fmla="*/ 994 h 1974"/>
                <a:gd name="T88" fmla="*/ 54 w 2569"/>
                <a:gd name="T89" fmla="*/ 922 h 1974"/>
                <a:gd name="T90" fmla="*/ 114 w 2569"/>
                <a:gd name="T91" fmla="*/ 863 h 1974"/>
                <a:gd name="T92" fmla="*/ 186 w 2569"/>
                <a:gd name="T93" fmla="*/ 824 h 1974"/>
                <a:gd name="T94" fmla="*/ 264 w 2569"/>
                <a:gd name="T95" fmla="*/ 808 h 1974"/>
                <a:gd name="T96" fmla="*/ 344 w 2569"/>
                <a:gd name="T97" fmla="*/ 813 h 1974"/>
                <a:gd name="T98" fmla="*/ 419 w 2569"/>
                <a:gd name="T99" fmla="*/ 840 h 1974"/>
                <a:gd name="T100" fmla="*/ 486 w 2569"/>
                <a:gd name="T101" fmla="*/ 890 h 1974"/>
                <a:gd name="T102" fmla="*/ 2082 w 2569"/>
                <a:gd name="T103" fmla="*/ 83 h 1974"/>
                <a:gd name="T104" fmla="*/ 2149 w 2569"/>
                <a:gd name="T105" fmla="*/ 33 h 1974"/>
                <a:gd name="T106" fmla="*/ 2225 w 2569"/>
                <a:gd name="T107" fmla="*/ 5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9" h="1974">
                  <a:moveTo>
                    <a:pt x="2271" y="162"/>
                  </a:moveTo>
                  <a:lnTo>
                    <a:pt x="2245" y="168"/>
                  </a:lnTo>
                  <a:lnTo>
                    <a:pt x="2220" y="181"/>
                  </a:lnTo>
                  <a:lnTo>
                    <a:pt x="2198" y="198"/>
                  </a:lnTo>
                  <a:lnTo>
                    <a:pt x="939" y="1457"/>
                  </a:lnTo>
                  <a:lnTo>
                    <a:pt x="920" y="1471"/>
                  </a:lnTo>
                  <a:lnTo>
                    <a:pt x="901" y="1479"/>
                  </a:lnTo>
                  <a:lnTo>
                    <a:pt x="880" y="1481"/>
                  </a:lnTo>
                  <a:lnTo>
                    <a:pt x="859" y="1479"/>
                  </a:lnTo>
                  <a:lnTo>
                    <a:pt x="840" y="1471"/>
                  </a:lnTo>
                  <a:lnTo>
                    <a:pt x="823" y="1457"/>
                  </a:lnTo>
                  <a:lnTo>
                    <a:pt x="371" y="1005"/>
                  </a:lnTo>
                  <a:lnTo>
                    <a:pt x="351" y="991"/>
                  </a:lnTo>
                  <a:lnTo>
                    <a:pt x="330" y="979"/>
                  </a:lnTo>
                  <a:lnTo>
                    <a:pt x="308" y="972"/>
                  </a:lnTo>
                  <a:lnTo>
                    <a:pt x="284" y="971"/>
                  </a:lnTo>
                  <a:lnTo>
                    <a:pt x="260" y="972"/>
                  </a:lnTo>
                  <a:lnTo>
                    <a:pt x="238" y="979"/>
                  </a:lnTo>
                  <a:lnTo>
                    <a:pt x="217" y="991"/>
                  </a:lnTo>
                  <a:lnTo>
                    <a:pt x="197" y="1005"/>
                  </a:lnTo>
                  <a:lnTo>
                    <a:pt x="180" y="1028"/>
                  </a:lnTo>
                  <a:lnTo>
                    <a:pt x="169" y="1053"/>
                  </a:lnTo>
                  <a:lnTo>
                    <a:pt x="162" y="1079"/>
                  </a:lnTo>
                  <a:lnTo>
                    <a:pt x="162" y="1106"/>
                  </a:lnTo>
                  <a:lnTo>
                    <a:pt x="169" y="1132"/>
                  </a:lnTo>
                  <a:lnTo>
                    <a:pt x="180" y="1157"/>
                  </a:lnTo>
                  <a:lnTo>
                    <a:pt x="197" y="1179"/>
                  </a:lnTo>
                  <a:lnTo>
                    <a:pt x="793" y="1775"/>
                  </a:lnTo>
                  <a:lnTo>
                    <a:pt x="812" y="1790"/>
                  </a:lnTo>
                  <a:lnTo>
                    <a:pt x="833" y="1801"/>
                  </a:lnTo>
                  <a:lnTo>
                    <a:pt x="857" y="1809"/>
                  </a:lnTo>
                  <a:lnTo>
                    <a:pt x="880" y="1811"/>
                  </a:lnTo>
                  <a:lnTo>
                    <a:pt x="904" y="1809"/>
                  </a:lnTo>
                  <a:lnTo>
                    <a:pt x="927" y="1801"/>
                  </a:lnTo>
                  <a:lnTo>
                    <a:pt x="948" y="1790"/>
                  </a:lnTo>
                  <a:lnTo>
                    <a:pt x="967" y="1775"/>
                  </a:lnTo>
                  <a:lnTo>
                    <a:pt x="2370" y="371"/>
                  </a:lnTo>
                  <a:lnTo>
                    <a:pt x="2389" y="349"/>
                  </a:lnTo>
                  <a:lnTo>
                    <a:pt x="2400" y="324"/>
                  </a:lnTo>
                  <a:lnTo>
                    <a:pt x="2406" y="298"/>
                  </a:lnTo>
                  <a:lnTo>
                    <a:pt x="2406" y="272"/>
                  </a:lnTo>
                  <a:lnTo>
                    <a:pt x="2400" y="244"/>
                  </a:lnTo>
                  <a:lnTo>
                    <a:pt x="2389" y="219"/>
                  </a:lnTo>
                  <a:lnTo>
                    <a:pt x="2370" y="198"/>
                  </a:lnTo>
                  <a:lnTo>
                    <a:pt x="2349" y="181"/>
                  </a:lnTo>
                  <a:lnTo>
                    <a:pt x="2324" y="168"/>
                  </a:lnTo>
                  <a:lnTo>
                    <a:pt x="2297" y="162"/>
                  </a:lnTo>
                  <a:lnTo>
                    <a:pt x="2271" y="162"/>
                  </a:lnTo>
                  <a:close/>
                  <a:moveTo>
                    <a:pt x="2265" y="0"/>
                  </a:moveTo>
                  <a:lnTo>
                    <a:pt x="2305" y="0"/>
                  </a:lnTo>
                  <a:lnTo>
                    <a:pt x="2344" y="5"/>
                  </a:lnTo>
                  <a:lnTo>
                    <a:pt x="2383" y="16"/>
                  </a:lnTo>
                  <a:lnTo>
                    <a:pt x="2420" y="33"/>
                  </a:lnTo>
                  <a:lnTo>
                    <a:pt x="2455" y="54"/>
                  </a:lnTo>
                  <a:lnTo>
                    <a:pt x="2486" y="83"/>
                  </a:lnTo>
                  <a:lnTo>
                    <a:pt x="2514" y="114"/>
                  </a:lnTo>
                  <a:lnTo>
                    <a:pt x="2535" y="150"/>
                  </a:lnTo>
                  <a:lnTo>
                    <a:pt x="2553" y="186"/>
                  </a:lnTo>
                  <a:lnTo>
                    <a:pt x="2564" y="224"/>
                  </a:lnTo>
                  <a:lnTo>
                    <a:pt x="2569" y="264"/>
                  </a:lnTo>
                  <a:lnTo>
                    <a:pt x="2569" y="304"/>
                  </a:lnTo>
                  <a:lnTo>
                    <a:pt x="2564" y="344"/>
                  </a:lnTo>
                  <a:lnTo>
                    <a:pt x="2553" y="382"/>
                  </a:lnTo>
                  <a:lnTo>
                    <a:pt x="2535" y="419"/>
                  </a:lnTo>
                  <a:lnTo>
                    <a:pt x="2514" y="454"/>
                  </a:lnTo>
                  <a:lnTo>
                    <a:pt x="2486" y="486"/>
                  </a:lnTo>
                  <a:lnTo>
                    <a:pt x="1083" y="1891"/>
                  </a:lnTo>
                  <a:lnTo>
                    <a:pt x="1054" y="1916"/>
                  </a:lnTo>
                  <a:lnTo>
                    <a:pt x="1023" y="1937"/>
                  </a:lnTo>
                  <a:lnTo>
                    <a:pt x="989" y="1953"/>
                  </a:lnTo>
                  <a:lnTo>
                    <a:pt x="955" y="1964"/>
                  </a:lnTo>
                  <a:lnTo>
                    <a:pt x="917" y="1972"/>
                  </a:lnTo>
                  <a:lnTo>
                    <a:pt x="880" y="1974"/>
                  </a:lnTo>
                  <a:lnTo>
                    <a:pt x="843" y="1972"/>
                  </a:lnTo>
                  <a:lnTo>
                    <a:pt x="806" y="1964"/>
                  </a:lnTo>
                  <a:lnTo>
                    <a:pt x="771" y="1953"/>
                  </a:lnTo>
                  <a:lnTo>
                    <a:pt x="737" y="1937"/>
                  </a:lnTo>
                  <a:lnTo>
                    <a:pt x="706" y="1916"/>
                  </a:lnTo>
                  <a:lnTo>
                    <a:pt x="678" y="1891"/>
                  </a:lnTo>
                  <a:lnTo>
                    <a:pt x="82" y="1295"/>
                  </a:lnTo>
                  <a:lnTo>
                    <a:pt x="54" y="1263"/>
                  </a:lnTo>
                  <a:lnTo>
                    <a:pt x="32" y="1228"/>
                  </a:lnTo>
                  <a:lnTo>
                    <a:pt x="16" y="1190"/>
                  </a:lnTo>
                  <a:lnTo>
                    <a:pt x="5" y="1152"/>
                  </a:lnTo>
                  <a:lnTo>
                    <a:pt x="0" y="1112"/>
                  </a:lnTo>
                  <a:lnTo>
                    <a:pt x="0" y="1073"/>
                  </a:lnTo>
                  <a:lnTo>
                    <a:pt x="5" y="1033"/>
                  </a:lnTo>
                  <a:lnTo>
                    <a:pt x="16" y="994"/>
                  </a:lnTo>
                  <a:lnTo>
                    <a:pt x="32" y="957"/>
                  </a:lnTo>
                  <a:lnTo>
                    <a:pt x="54" y="922"/>
                  </a:lnTo>
                  <a:lnTo>
                    <a:pt x="82" y="890"/>
                  </a:lnTo>
                  <a:lnTo>
                    <a:pt x="114" y="863"/>
                  </a:lnTo>
                  <a:lnTo>
                    <a:pt x="149" y="840"/>
                  </a:lnTo>
                  <a:lnTo>
                    <a:pt x="186" y="824"/>
                  </a:lnTo>
                  <a:lnTo>
                    <a:pt x="224" y="813"/>
                  </a:lnTo>
                  <a:lnTo>
                    <a:pt x="264" y="808"/>
                  </a:lnTo>
                  <a:lnTo>
                    <a:pt x="304" y="808"/>
                  </a:lnTo>
                  <a:lnTo>
                    <a:pt x="344" y="813"/>
                  </a:lnTo>
                  <a:lnTo>
                    <a:pt x="382" y="824"/>
                  </a:lnTo>
                  <a:lnTo>
                    <a:pt x="419" y="840"/>
                  </a:lnTo>
                  <a:lnTo>
                    <a:pt x="454" y="863"/>
                  </a:lnTo>
                  <a:lnTo>
                    <a:pt x="486" y="890"/>
                  </a:lnTo>
                  <a:lnTo>
                    <a:pt x="880" y="1285"/>
                  </a:lnTo>
                  <a:lnTo>
                    <a:pt x="2082" y="83"/>
                  </a:lnTo>
                  <a:lnTo>
                    <a:pt x="2115" y="54"/>
                  </a:lnTo>
                  <a:lnTo>
                    <a:pt x="2149" y="33"/>
                  </a:lnTo>
                  <a:lnTo>
                    <a:pt x="2187" y="16"/>
                  </a:lnTo>
                  <a:lnTo>
                    <a:pt x="2225" y="5"/>
                  </a:lnTo>
                  <a:lnTo>
                    <a:pt x="22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444">
              <a:extLst>
                <a:ext uri="{FF2B5EF4-FFF2-40B4-BE49-F238E27FC236}">
                  <a16:creationId xmlns:a16="http://schemas.microsoft.com/office/drawing/2014/main" id="{6A4B9C16-F102-B3EE-A425-09AE0AE4739A}"/>
                </a:ext>
              </a:extLst>
            </p:cNvPr>
            <p:cNvSpPr>
              <a:spLocks/>
            </p:cNvSpPr>
            <p:nvPr/>
          </p:nvSpPr>
          <p:spPr bwMode="auto">
            <a:xfrm>
              <a:off x="6462" y="3052"/>
              <a:ext cx="1793" cy="1428"/>
            </a:xfrm>
            <a:custGeom>
              <a:avLst/>
              <a:gdLst>
                <a:gd name="T0" fmla="*/ 1732 w 1793"/>
                <a:gd name="T1" fmla="*/ 3 h 1428"/>
                <a:gd name="T2" fmla="*/ 1770 w 1793"/>
                <a:gd name="T3" fmla="*/ 23 h 1428"/>
                <a:gd name="T4" fmla="*/ 1791 w 1793"/>
                <a:gd name="T5" fmla="*/ 59 h 1428"/>
                <a:gd name="T6" fmla="*/ 1791 w 1793"/>
                <a:gd name="T7" fmla="*/ 101 h 1428"/>
                <a:gd name="T8" fmla="*/ 1725 w 1793"/>
                <a:gd name="T9" fmla="*/ 308 h 1428"/>
                <a:gd name="T10" fmla="*/ 1634 w 1793"/>
                <a:gd name="T11" fmla="*/ 502 h 1428"/>
                <a:gd name="T12" fmla="*/ 1524 w 1793"/>
                <a:gd name="T13" fmla="*/ 682 h 1428"/>
                <a:gd name="T14" fmla="*/ 1393 w 1793"/>
                <a:gd name="T15" fmla="*/ 845 h 1428"/>
                <a:gd name="T16" fmla="*/ 1244 w 1793"/>
                <a:gd name="T17" fmla="*/ 991 h 1428"/>
                <a:gd name="T18" fmla="*/ 1080 w 1793"/>
                <a:gd name="T19" fmla="*/ 1119 h 1428"/>
                <a:gd name="T20" fmla="*/ 902 w 1793"/>
                <a:gd name="T21" fmla="*/ 1227 h 1428"/>
                <a:gd name="T22" fmla="*/ 712 w 1793"/>
                <a:gd name="T23" fmla="*/ 1313 h 1428"/>
                <a:gd name="T24" fmla="*/ 509 w 1793"/>
                <a:gd name="T25" fmla="*/ 1376 h 1428"/>
                <a:gd name="T26" fmla="*/ 299 w 1793"/>
                <a:gd name="T27" fmla="*/ 1415 h 1428"/>
                <a:gd name="T28" fmla="*/ 82 w 1793"/>
                <a:gd name="T29" fmla="*/ 1428 h 1428"/>
                <a:gd name="T30" fmla="*/ 41 w 1793"/>
                <a:gd name="T31" fmla="*/ 1417 h 1428"/>
                <a:gd name="T32" fmla="*/ 11 w 1793"/>
                <a:gd name="T33" fmla="*/ 1387 h 1428"/>
                <a:gd name="T34" fmla="*/ 0 w 1793"/>
                <a:gd name="T35" fmla="*/ 1346 h 1428"/>
                <a:gd name="T36" fmla="*/ 11 w 1793"/>
                <a:gd name="T37" fmla="*/ 1305 h 1428"/>
                <a:gd name="T38" fmla="*/ 41 w 1793"/>
                <a:gd name="T39" fmla="*/ 1276 h 1428"/>
                <a:gd name="T40" fmla="*/ 82 w 1793"/>
                <a:gd name="T41" fmla="*/ 1264 h 1428"/>
                <a:gd name="T42" fmla="*/ 288 w 1793"/>
                <a:gd name="T43" fmla="*/ 1252 h 1428"/>
                <a:gd name="T44" fmla="*/ 488 w 1793"/>
                <a:gd name="T45" fmla="*/ 1214 h 1428"/>
                <a:gd name="T46" fmla="*/ 678 w 1793"/>
                <a:gd name="T47" fmla="*/ 1150 h 1428"/>
                <a:gd name="T48" fmla="*/ 858 w 1793"/>
                <a:gd name="T49" fmla="*/ 1065 h 1428"/>
                <a:gd name="T50" fmla="*/ 1025 w 1793"/>
                <a:gd name="T51" fmla="*/ 959 h 1428"/>
                <a:gd name="T52" fmla="*/ 1177 w 1793"/>
                <a:gd name="T53" fmla="*/ 832 h 1428"/>
                <a:gd name="T54" fmla="*/ 1313 w 1793"/>
                <a:gd name="T55" fmla="*/ 688 h 1428"/>
                <a:gd name="T56" fmla="*/ 1431 w 1793"/>
                <a:gd name="T57" fmla="*/ 527 h 1428"/>
                <a:gd name="T58" fmla="*/ 1529 w 1793"/>
                <a:gd name="T59" fmla="*/ 350 h 1428"/>
                <a:gd name="T60" fmla="*/ 1603 w 1793"/>
                <a:gd name="T61" fmla="*/ 160 h 1428"/>
                <a:gd name="T62" fmla="*/ 1640 w 1793"/>
                <a:gd name="T63" fmla="*/ 41 h 1428"/>
                <a:gd name="T64" fmla="*/ 1670 w 1793"/>
                <a:gd name="T65" fmla="*/ 11 h 1428"/>
                <a:gd name="T66" fmla="*/ 1710 w 1793"/>
                <a:gd name="T67" fmla="*/ 0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3" h="1428">
                  <a:moveTo>
                    <a:pt x="1710" y="0"/>
                  </a:moveTo>
                  <a:lnTo>
                    <a:pt x="1732" y="3"/>
                  </a:lnTo>
                  <a:lnTo>
                    <a:pt x="1752" y="10"/>
                  </a:lnTo>
                  <a:lnTo>
                    <a:pt x="1770" y="23"/>
                  </a:lnTo>
                  <a:lnTo>
                    <a:pt x="1782" y="40"/>
                  </a:lnTo>
                  <a:lnTo>
                    <a:pt x="1791" y="59"/>
                  </a:lnTo>
                  <a:lnTo>
                    <a:pt x="1793" y="80"/>
                  </a:lnTo>
                  <a:lnTo>
                    <a:pt x="1791" y="101"/>
                  </a:lnTo>
                  <a:lnTo>
                    <a:pt x="1761" y="206"/>
                  </a:lnTo>
                  <a:lnTo>
                    <a:pt x="1725" y="308"/>
                  </a:lnTo>
                  <a:lnTo>
                    <a:pt x="1683" y="408"/>
                  </a:lnTo>
                  <a:lnTo>
                    <a:pt x="1634" y="502"/>
                  </a:lnTo>
                  <a:lnTo>
                    <a:pt x="1582" y="594"/>
                  </a:lnTo>
                  <a:lnTo>
                    <a:pt x="1524" y="682"/>
                  </a:lnTo>
                  <a:lnTo>
                    <a:pt x="1460" y="765"/>
                  </a:lnTo>
                  <a:lnTo>
                    <a:pt x="1393" y="845"/>
                  </a:lnTo>
                  <a:lnTo>
                    <a:pt x="1321" y="920"/>
                  </a:lnTo>
                  <a:lnTo>
                    <a:pt x="1244" y="991"/>
                  </a:lnTo>
                  <a:lnTo>
                    <a:pt x="1165" y="1058"/>
                  </a:lnTo>
                  <a:lnTo>
                    <a:pt x="1080" y="1119"/>
                  </a:lnTo>
                  <a:lnTo>
                    <a:pt x="992" y="1175"/>
                  </a:lnTo>
                  <a:lnTo>
                    <a:pt x="902" y="1227"/>
                  </a:lnTo>
                  <a:lnTo>
                    <a:pt x="808" y="1273"/>
                  </a:lnTo>
                  <a:lnTo>
                    <a:pt x="712" y="1313"/>
                  </a:lnTo>
                  <a:lnTo>
                    <a:pt x="611" y="1348"/>
                  </a:lnTo>
                  <a:lnTo>
                    <a:pt x="509" y="1376"/>
                  </a:lnTo>
                  <a:lnTo>
                    <a:pt x="405" y="1399"/>
                  </a:lnTo>
                  <a:lnTo>
                    <a:pt x="299" y="1415"/>
                  </a:lnTo>
                  <a:lnTo>
                    <a:pt x="191" y="1425"/>
                  </a:lnTo>
                  <a:lnTo>
                    <a:pt x="82" y="1428"/>
                  </a:lnTo>
                  <a:lnTo>
                    <a:pt x="61" y="1426"/>
                  </a:lnTo>
                  <a:lnTo>
                    <a:pt x="41" y="1417"/>
                  </a:lnTo>
                  <a:lnTo>
                    <a:pt x="25" y="1405"/>
                  </a:lnTo>
                  <a:lnTo>
                    <a:pt x="11" y="1387"/>
                  </a:lnTo>
                  <a:lnTo>
                    <a:pt x="4" y="1369"/>
                  </a:lnTo>
                  <a:lnTo>
                    <a:pt x="0" y="1346"/>
                  </a:lnTo>
                  <a:lnTo>
                    <a:pt x="4" y="1325"/>
                  </a:lnTo>
                  <a:lnTo>
                    <a:pt x="11" y="1305"/>
                  </a:lnTo>
                  <a:lnTo>
                    <a:pt x="25" y="1289"/>
                  </a:lnTo>
                  <a:lnTo>
                    <a:pt x="41" y="1276"/>
                  </a:lnTo>
                  <a:lnTo>
                    <a:pt x="61" y="1268"/>
                  </a:lnTo>
                  <a:lnTo>
                    <a:pt x="82" y="1264"/>
                  </a:lnTo>
                  <a:lnTo>
                    <a:pt x="186" y="1262"/>
                  </a:lnTo>
                  <a:lnTo>
                    <a:pt x="288" y="1252"/>
                  </a:lnTo>
                  <a:lnTo>
                    <a:pt x="389" y="1236"/>
                  </a:lnTo>
                  <a:lnTo>
                    <a:pt x="488" y="1214"/>
                  </a:lnTo>
                  <a:lnTo>
                    <a:pt x="584" y="1185"/>
                  </a:lnTo>
                  <a:lnTo>
                    <a:pt x="678" y="1150"/>
                  </a:lnTo>
                  <a:lnTo>
                    <a:pt x="770" y="1110"/>
                  </a:lnTo>
                  <a:lnTo>
                    <a:pt x="858" y="1065"/>
                  </a:lnTo>
                  <a:lnTo>
                    <a:pt x="943" y="1015"/>
                  </a:lnTo>
                  <a:lnTo>
                    <a:pt x="1025" y="959"/>
                  </a:lnTo>
                  <a:lnTo>
                    <a:pt x="1103" y="898"/>
                  </a:lnTo>
                  <a:lnTo>
                    <a:pt x="1177" y="832"/>
                  </a:lnTo>
                  <a:lnTo>
                    <a:pt x="1247" y="763"/>
                  </a:lnTo>
                  <a:lnTo>
                    <a:pt x="1313" y="688"/>
                  </a:lnTo>
                  <a:lnTo>
                    <a:pt x="1375" y="610"/>
                  </a:lnTo>
                  <a:lnTo>
                    <a:pt x="1431" y="527"/>
                  </a:lnTo>
                  <a:lnTo>
                    <a:pt x="1483" y="441"/>
                  </a:lnTo>
                  <a:lnTo>
                    <a:pt x="1529" y="350"/>
                  </a:lnTo>
                  <a:lnTo>
                    <a:pt x="1568" y="257"/>
                  </a:lnTo>
                  <a:lnTo>
                    <a:pt x="1603" y="160"/>
                  </a:lnTo>
                  <a:lnTo>
                    <a:pt x="1633" y="61"/>
                  </a:lnTo>
                  <a:lnTo>
                    <a:pt x="1640" y="41"/>
                  </a:lnTo>
                  <a:lnTo>
                    <a:pt x="1654" y="24"/>
                  </a:lnTo>
                  <a:lnTo>
                    <a:pt x="1670" y="11"/>
                  </a:lnTo>
                  <a:lnTo>
                    <a:pt x="1689" y="3"/>
                  </a:lnTo>
                  <a:lnTo>
                    <a:pt x="17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445">
              <a:extLst>
                <a:ext uri="{FF2B5EF4-FFF2-40B4-BE49-F238E27FC236}">
                  <a16:creationId xmlns:a16="http://schemas.microsoft.com/office/drawing/2014/main" id="{51AB2E72-D469-5F87-4BCB-52BC2906B460}"/>
                </a:ext>
              </a:extLst>
            </p:cNvPr>
            <p:cNvSpPr>
              <a:spLocks/>
            </p:cNvSpPr>
            <p:nvPr/>
          </p:nvSpPr>
          <p:spPr bwMode="auto">
            <a:xfrm>
              <a:off x="8142" y="2635"/>
              <a:ext cx="165" cy="237"/>
            </a:xfrm>
            <a:custGeom>
              <a:avLst/>
              <a:gdLst>
                <a:gd name="T0" fmla="*/ 83 w 165"/>
                <a:gd name="T1" fmla="*/ 0 h 237"/>
                <a:gd name="T2" fmla="*/ 106 w 165"/>
                <a:gd name="T3" fmla="*/ 4 h 237"/>
                <a:gd name="T4" fmla="*/ 124 w 165"/>
                <a:gd name="T5" fmla="*/ 11 h 237"/>
                <a:gd name="T6" fmla="*/ 142 w 165"/>
                <a:gd name="T7" fmla="*/ 25 h 237"/>
                <a:gd name="T8" fmla="*/ 154 w 165"/>
                <a:gd name="T9" fmla="*/ 41 h 237"/>
                <a:gd name="T10" fmla="*/ 163 w 165"/>
                <a:gd name="T11" fmla="*/ 61 h 237"/>
                <a:gd name="T12" fmla="*/ 165 w 165"/>
                <a:gd name="T13" fmla="*/ 82 h 237"/>
                <a:gd name="T14" fmla="*/ 164 w 165"/>
                <a:gd name="T15" fmla="*/ 159 h 237"/>
                <a:gd name="T16" fmla="*/ 160 w 165"/>
                <a:gd name="T17" fmla="*/ 180 h 237"/>
                <a:gd name="T18" fmla="*/ 152 w 165"/>
                <a:gd name="T19" fmla="*/ 199 h 237"/>
                <a:gd name="T20" fmla="*/ 138 w 165"/>
                <a:gd name="T21" fmla="*/ 215 h 237"/>
                <a:gd name="T22" fmla="*/ 122 w 165"/>
                <a:gd name="T23" fmla="*/ 226 h 237"/>
                <a:gd name="T24" fmla="*/ 103 w 165"/>
                <a:gd name="T25" fmla="*/ 235 h 237"/>
                <a:gd name="T26" fmla="*/ 82 w 165"/>
                <a:gd name="T27" fmla="*/ 237 h 237"/>
                <a:gd name="T28" fmla="*/ 78 w 165"/>
                <a:gd name="T29" fmla="*/ 237 h 237"/>
                <a:gd name="T30" fmla="*/ 57 w 165"/>
                <a:gd name="T31" fmla="*/ 234 h 237"/>
                <a:gd name="T32" fmla="*/ 37 w 165"/>
                <a:gd name="T33" fmla="*/ 224 h 237"/>
                <a:gd name="T34" fmla="*/ 21 w 165"/>
                <a:gd name="T35" fmla="*/ 211 h 237"/>
                <a:gd name="T36" fmla="*/ 10 w 165"/>
                <a:gd name="T37" fmla="*/ 194 h 237"/>
                <a:gd name="T38" fmla="*/ 3 w 165"/>
                <a:gd name="T39" fmla="*/ 174 h 237"/>
                <a:gd name="T40" fmla="*/ 0 w 165"/>
                <a:gd name="T41" fmla="*/ 152 h 237"/>
                <a:gd name="T42" fmla="*/ 1 w 165"/>
                <a:gd name="T43" fmla="*/ 82 h 237"/>
                <a:gd name="T44" fmla="*/ 5 w 165"/>
                <a:gd name="T45" fmla="*/ 61 h 237"/>
                <a:gd name="T46" fmla="*/ 13 w 165"/>
                <a:gd name="T47" fmla="*/ 41 h 237"/>
                <a:gd name="T48" fmla="*/ 26 w 165"/>
                <a:gd name="T49" fmla="*/ 25 h 237"/>
                <a:gd name="T50" fmla="*/ 42 w 165"/>
                <a:gd name="T51" fmla="*/ 11 h 237"/>
                <a:gd name="T52" fmla="*/ 62 w 165"/>
                <a:gd name="T53" fmla="*/ 4 h 237"/>
                <a:gd name="T54" fmla="*/ 83 w 165"/>
                <a:gd name="T5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237">
                  <a:moveTo>
                    <a:pt x="83" y="0"/>
                  </a:moveTo>
                  <a:lnTo>
                    <a:pt x="106" y="4"/>
                  </a:lnTo>
                  <a:lnTo>
                    <a:pt x="124" y="11"/>
                  </a:lnTo>
                  <a:lnTo>
                    <a:pt x="142" y="25"/>
                  </a:lnTo>
                  <a:lnTo>
                    <a:pt x="154" y="41"/>
                  </a:lnTo>
                  <a:lnTo>
                    <a:pt x="163" y="61"/>
                  </a:lnTo>
                  <a:lnTo>
                    <a:pt x="165" y="82"/>
                  </a:lnTo>
                  <a:lnTo>
                    <a:pt x="164" y="159"/>
                  </a:lnTo>
                  <a:lnTo>
                    <a:pt x="160" y="180"/>
                  </a:lnTo>
                  <a:lnTo>
                    <a:pt x="152" y="199"/>
                  </a:lnTo>
                  <a:lnTo>
                    <a:pt x="138" y="215"/>
                  </a:lnTo>
                  <a:lnTo>
                    <a:pt x="122" y="226"/>
                  </a:lnTo>
                  <a:lnTo>
                    <a:pt x="103" y="235"/>
                  </a:lnTo>
                  <a:lnTo>
                    <a:pt x="82" y="237"/>
                  </a:lnTo>
                  <a:lnTo>
                    <a:pt x="78" y="237"/>
                  </a:lnTo>
                  <a:lnTo>
                    <a:pt x="57" y="234"/>
                  </a:lnTo>
                  <a:lnTo>
                    <a:pt x="37" y="224"/>
                  </a:lnTo>
                  <a:lnTo>
                    <a:pt x="21" y="211"/>
                  </a:lnTo>
                  <a:lnTo>
                    <a:pt x="10" y="194"/>
                  </a:lnTo>
                  <a:lnTo>
                    <a:pt x="3" y="174"/>
                  </a:lnTo>
                  <a:lnTo>
                    <a:pt x="0" y="152"/>
                  </a:lnTo>
                  <a:lnTo>
                    <a:pt x="1" y="82"/>
                  </a:lnTo>
                  <a:lnTo>
                    <a:pt x="5" y="61"/>
                  </a:lnTo>
                  <a:lnTo>
                    <a:pt x="13" y="41"/>
                  </a:lnTo>
                  <a:lnTo>
                    <a:pt x="26" y="25"/>
                  </a:lnTo>
                  <a:lnTo>
                    <a:pt x="42" y="11"/>
                  </a:lnTo>
                  <a:lnTo>
                    <a:pt x="62" y="4"/>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26066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9D3D91-3BE2-81D4-88BA-4B79032F8C2B}"/>
              </a:ext>
            </a:extLst>
          </p:cNvPr>
          <p:cNvSpPr/>
          <p:nvPr/>
        </p:nvSpPr>
        <p:spPr>
          <a:xfrm>
            <a:off x="0" y="10886"/>
            <a:ext cx="6724650"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6" name="Picture 5">
            <a:extLst>
              <a:ext uri="{FF2B5EF4-FFF2-40B4-BE49-F238E27FC236}">
                <a16:creationId xmlns:a16="http://schemas.microsoft.com/office/drawing/2014/main" id="{DE3D721E-13B4-0304-3648-D240C122CE2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2556578"/>
            <a:ext cx="14401800" cy="9538853"/>
          </a:xfrm>
          <a:prstGeom prst="rect">
            <a:avLst/>
          </a:prstGeom>
        </p:spPr>
      </p:pic>
      <p:sp>
        <p:nvSpPr>
          <p:cNvPr id="8" name="Rectangle 7">
            <a:extLst>
              <a:ext uri="{FF2B5EF4-FFF2-40B4-BE49-F238E27FC236}">
                <a16:creationId xmlns:a16="http://schemas.microsoft.com/office/drawing/2014/main" id="{9A48E439-CFC8-693F-CF31-D6D5F01FC8EC}"/>
              </a:ext>
            </a:extLst>
          </p:cNvPr>
          <p:cNvSpPr/>
          <p:nvPr/>
        </p:nvSpPr>
        <p:spPr>
          <a:xfrm>
            <a:off x="809625" y="4472709"/>
            <a:ext cx="64293" cy="2509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3" name="Graphic 2">
            <a:extLst>
              <a:ext uri="{FF2B5EF4-FFF2-40B4-BE49-F238E27FC236}">
                <a16:creationId xmlns:a16="http://schemas.microsoft.com/office/drawing/2014/main" id="{9DEA8876-B510-9187-27D1-5D5F5F39AE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
        <p:nvSpPr>
          <p:cNvPr id="12" name="TextBox 11">
            <a:extLst>
              <a:ext uri="{FF2B5EF4-FFF2-40B4-BE49-F238E27FC236}">
                <a16:creationId xmlns:a16="http://schemas.microsoft.com/office/drawing/2014/main" id="{34DC3C6D-6FD6-43F5-B034-C60170C1DD4D}"/>
              </a:ext>
            </a:extLst>
          </p:cNvPr>
          <p:cNvSpPr txBox="1"/>
          <p:nvPr/>
        </p:nvSpPr>
        <p:spPr>
          <a:xfrm>
            <a:off x="999570" y="4472709"/>
            <a:ext cx="8190612" cy="1754326"/>
          </a:xfrm>
          <a:prstGeom prst="rect">
            <a:avLst/>
          </a:prstGeom>
          <a:noFill/>
        </p:spPr>
        <p:txBody>
          <a:bodyPr wrap="square" rtlCol="0">
            <a:spAutoFit/>
          </a:bodyPr>
          <a:lstStyle/>
          <a:p>
            <a:pPr lvl="0"/>
            <a:r>
              <a:rPr lang="en-US" sz="3600" b="1" dirty="0">
                <a:solidFill>
                  <a:srgbClr val="FFFFFF"/>
                </a:solidFill>
                <a:latin typeface="+mj-lt"/>
              </a:rPr>
              <a:t>Incorporating sustainability</a:t>
            </a:r>
          </a:p>
          <a:p>
            <a:pPr lvl="0"/>
            <a:r>
              <a:rPr lang="en-US" sz="3600" b="1" dirty="0">
                <a:solidFill>
                  <a:srgbClr val="FFFFFF"/>
                </a:solidFill>
                <a:latin typeface="+mj-lt"/>
              </a:rPr>
              <a:t>into event planning and management</a:t>
            </a:r>
            <a:endParaRPr kumimoji="0" lang="en-US" sz="3600" b="1" i="0" u="none" strike="noStrike" kern="1200" cap="none" spc="0" normalizeH="0" baseline="0" noProof="0" dirty="0">
              <a:ln>
                <a:noFill/>
              </a:ln>
              <a:solidFill>
                <a:srgbClr val="FFFFFF"/>
              </a:solidFill>
              <a:effectLst/>
              <a:uLnTx/>
              <a:uFillTx/>
              <a:latin typeface="+mj-lt"/>
            </a:endParaRPr>
          </a:p>
        </p:txBody>
      </p:sp>
      <p:sp>
        <p:nvSpPr>
          <p:cNvPr id="4" name="TextBox 3">
            <a:extLst>
              <a:ext uri="{FF2B5EF4-FFF2-40B4-BE49-F238E27FC236}">
                <a16:creationId xmlns:a16="http://schemas.microsoft.com/office/drawing/2014/main" id="{F97E43C3-6B8C-3504-A892-3FFA2D01C1C5}"/>
              </a:ext>
            </a:extLst>
          </p:cNvPr>
          <p:cNvSpPr txBox="1"/>
          <p:nvPr/>
        </p:nvSpPr>
        <p:spPr>
          <a:xfrm>
            <a:off x="10008067" y="315767"/>
            <a:ext cx="1466500" cy="246221"/>
          </a:xfrm>
          <a:prstGeom prst="rect">
            <a:avLst/>
          </a:prstGeom>
          <a:noFill/>
        </p:spPr>
        <p:txBody>
          <a:bodyPr wrap="square" rtlCol="0">
            <a:spAutoFit/>
          </a:bodyPr>
          <a:lstStyle/>
          <a:p>
            <a:pPr algn="r"/>
            <a:r>
              <a:rPr lang="en-GB" sz="1000" b="1" dirty="0">
                <a:solidFill>
                  <a:schemeClr val="bg1"/>
                </a:solidFill>
                <a:latin typeface="Montserrat" panose="00000500000000000000" pitchFamily="2" charset="0"/>
              </a:rPr>
              <a:t>MSECB Webinar</a:t>
            </a:r>
            <a:endParaRPr lang="en-ID" sz="1000" b="1" dirty="0">
              <a:solidFill>
                <a:schemeClr val="bg1"/>
              </a:solidFill>
              <a:latin typeface="Montserrat" panose="00000500000000000000" pitchFamily="2" charset="0"/>
            </a:endParaRPr>
          </a:p>
        </p:txBody>
      </p:sp>
      <p:sp>
        <p:nvSpPr>
          <p:cNvPr id="5" name="Circle: Hollow 4">
            <a:extLst>
              <a:ext uri="{FF2B5EF4-FFF2-40B4-BE49-F238E27FC236}">
                <a16:creationId xmlns:a16="http://schemas.microsoft.com/office/drawing/2014/main" id="{385AF7DC-AF3A-769F-461A-43EA83AF2B3F}"/>
              </a:ext>
            </a:extLst>
          </p:cNvPr>
          <p:cNvSpPr/>
          <p:nvPr/>
        </p:nvSpPr>
        <p:spPr>
          <a:xfrm>
            <a:off x="10091933" y="369197"/>
            <a:ext cx="130628" cy="130628"/>
          </a:xfrm>
          <a:prstGeom prst="donut">
            <a:avLst>
              <a:gd name="adj" fmla="val 219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spTree>
    <p:extLst>
      <p:ext uri="{BB962C8B-B14F-4D97-AF65-F5344CB8AC3E}">
        <p14:creationId xmlns:p14="http://schemas.microsoft.com/office/powerpoint/2010/main" val="978975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4CB841-EB57-4227-935B-577DF4900888}"/>
              </a:ext>
            </a:extLst>
          </p:cNvPr>
          <p:cNvSpPr/>
          <p:nvPr/>
        </p:nvSpPr>
        <p:spPr>
          <a:xfrm>
            <a:off x="4980373" y="4802819"/>
            <a:ext cx="7211627" cy="99968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a:extLst>
              <a:ext uri="{FF2B5EF4-FFF2-40B4-BE49-F238E27FC236}">
                <a16:creationId xmlns:a16="http://schemas.microsoft.com/office/drawing/2014/main" id="{D4BB5052-9E43-3AC8-CD63-45D8694B9F1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4003" b="4003"/>
          <a:stretch>
            <a:fillRect/>
          </a:stretch>
        </p:blipFill>
        <p:spPr/>
      </p:pic>
      <p:sp>
        <p:nvSpPr>
          <p:cNvPr id="3" name="Espace réservé du contenu 5">
            <a:extLst>
              <a:ext uri="{FF2B5EF4-FFF2-40B4-BE49-F238E27FC236}">
                <a16:creationId xmlns:a16="http://schemas.microsoft.com/office/drawing/2014/main" id="{B940BD3C-E5AF-1D79-0ECD-B59C32921772}"/>
              </a:ext>
            </a:extLst>
          </p:cNvPr>
          <p:cNvSpPr txBox="1">
            <a:spLocks/>
          </p:cNvSpPr>
          <p:nvPr/>
        </p:nvSpPr>
        <p:spPr>
          <a:xfrm>
            <a:off x="5868139" y="1330779"/>
            <a:ext cx="6045694" cy="391490"/>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a:solidFill>
                  <a:srgbClr val="801619"/>
                </a:solidFill>
              </a:rPr>
              <a:t>Sustainable Event Management System</a:t>
            </a:r>
            <a:endParaRPr lang="en-US" sz="2000">
              <a:solidFill>
                <a:srgbClr val="801619"/>
              </a:solidFill>
            </a:endParaRPr>
          </a:p>
        </p:txBody>
      </p:sp>
      <p:sp>
        <p:nvSpPr>
          <p:cNvPr id="5" name="Espace réservé du contenu 5">
            <a:extLst>
              <a:ext uri="{FF2B5EF4-FFF2-40B4-BE49-F238E27FC236}">
                <a16:creationId xmlns:a16="http://schemas.microsoft.com/office/drawing/2014/main" id="{D25173A6-F5A3-C933-AFFA-E8D0AC10A0A1}"/>
              </a:ext>
            </a:extLst>
          </p:cNvPr>
          <p:cNvSpPr txBox="1">
            <a:spLocks/>
          </p:cNvSpPr>
          <p:nvPr/>
        </p:nvSpPr>
        <p:spPr>
          <a:xfrm>
            <a:off x="6096000" y="4845763"/>
            <a:ext cx="5294050" cy="608991"/>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sz="1200" b="1" dirty="0">
                <a:solidFill>
                  <a:schemeClr val="bg1"/>
                </a:solidFill>
              </a:rPr>
              <a:t>NOTE: </a:t>
            </a:r>
            <a:r>
              <a:rPr lang="en-US" sz="1200" dirty="0">
                <a:solidFill>
                  <a:schemeClr val="bg1"/>
                </a:solidFill>
              </a:rPr>
              <a:t>The management system includes organizational structure, policies, planning activities, responsibilities, practices, procedures, processes, and resources.</a:t>
            </a:r>
          </a:p>
        </p:txBody>
      </p:sp>
      <p:sp>
        <p:nvSpPr>
          <p:cNvPr id="6" name="Espace réservé du contenu 5">
            <a:extLst>
              <a:ext uri="{FF2B5EF4-FFF2-40B4-BE49-F238E27FC236}">
                <a16:creationId xmlns:a16="http://schemas.microsoft.com/office/drawing/2014/main" id="{63D69B61-83FE-C70A-B572-C232C6129B20}"/>
              </a:ext>
            </a:extLst>
          </p:cNvPr>
          <p:cNvSpPr txBox="1">
            <a:spLocks/>
          </p:cNvSpPr>
          <p:nvPr/>
        </p:nvSpPr>
        <p:spPr>
          <a:xfrm>
            <a:off x="6010182" y="1805636"/>
            <a:ext cx="4921978" cy="1623364"/>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pPr>
            <a:r>
              <a:rPr lang="en-US" sz="1200" dirty="0"/>
              <a:t>An SEMS is a part of a larger management system that includes organizational structure, planning, defining roles and responsibilities, procedures, processes, and resources for developing, implementing, checking, and reviewing the SEMS processes with the aim of continual development.</a:t>
            </a:r>
          </a:p>
        </p:txBody>
      </p:sp>
    </p:spTree>
    <p:extLst>
      <p:ext uri="{BB962C8B-B14F-4D97-AF65-F5344CB8AC3E}">
        <p14:creationId xmlns:p14="http://schemas.microsoft.com/office/powerpoint/2010/main" val="18557309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05DC2F95-3A3A-864C-25F8-628998108A16}"/>
              </a:ext>
            </a:extLst>
          </p:cNvPr>
          <p:cNvGrpSpPr/>
          <p:nvPr/>
        </p:nvGrpSpPr>
        <p:grpSpPr>
          <a:xfrm>
            <a:off x="767049" y="744189"/>
            <a:ext cx="10972800" cy="5474153"/>
            <a:chOff x="767049" y="744189"/>
            <a:chExt cx="10972800" cy="5474153"/>
          </a:xfrm>
        </p:grpSpPr>
        <p:sp>
          <p:nvSpPr>
            <p:cNvPr id="3" name="Title 1">
              <a:extLst>
                <a:ext uri="{FF2B5EF4-FFF2-40B4-BE49-F238E27FC236}">
                  <a16:creationId xmlns:a16="http://schemas.microsoft.com/office/drawing/2014/main" id="{7FF86015-5411-6B67-D33E-EE532995ECA8}"/>
                </a:ext>
              </a:extLst>
            </p:cNvPr>
            <p:cNvSpPr txBox="1">
              <a:spLocks/>
            </p:cNvSpPr>
            <p:nvPr>
              <p:custDataLst>
                <p:tags r:id="rId1"/>
              </p:custDataLst>
            </p:nvPr>
          </p:nvSpPr>
          <p:spPr>
            <a:xfrm>
              <a:off x="767049" y="744189"/>
              <a:ext cx="10972800" cy="838200"/>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a:cs typeface="Arial" charset="0"/>
                </a:rPr>
                <a:t>Process Approach</a:t>
              </a:r>
            </a:p>
          </p:txBody>
        </p:sp>
        <p:sp>
          <p:nvSpPr>
            <p:cNvPr id="4" name="Ellipse 6">
              <a:extLst>
                <a:ext uri="{FF2B5EF4-FFF2-40B4-BE49-F238E27FC236}">
                  <a16:creationId xmlns:a16="http://schemas.microsoft.com/office/drawing/2014/main" id="{CA55F360-4CA1-A067-830B-CCA2A5268B25}"/>
                </a:ext>
              </a:extLst>
            </p:cNvPr>
            <p:cNvSpPr/>
            <p:nvPr>
              <p:custDataLst>
                <p:tags r:id="rId2"/>
              </p:custDataLst>
            </p:nvPr>
          </p:nvSpPr>
          <p:spPr>
            <a:xfrm>
              <a:off x="3733801" y="2011468"/>
              <a:ext cx="4714875" cy="3929063"/>
            </a:xfrm>
            <a:prstGeom prst="ellipse">
              <a:avLst/>
            </a:prstGeom>
            <a:solidFill>
              <a:schemeClr val="bg1">
                <a:lumMod val="85000"/>
              </a:schemeClr>
            </a:solidFill>
            <a:ln>
              <a:solidFill>
                <a:srgbClr val="CA20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p>
          </p:txBody>
        </p:sp>
        <p:sp>
          <p:nvSpPr>
            <p:cNvPr id="5" name="Rectangle 4">
              <a:extLst>
                <a:ext uri="{FF2B5EF4-FFF2-40B4-BE49-F238E27FC236}">
                  <a16:creationId xmlns:a16="http://schemas.microsoft.com/office/drawing/2014/main" id="{DEADFE3B-6ED9-3C8C-7DC9-DD764023A920}"/>
                </a:ext>
              </a:extLst>
            </p:cNvPr>
            <p:cNvSpPr/>
            <p:nvPr>
              <p:custDataLst>
                <p:tags r:id="rId3"/>
              </p:custDataLst>
            </p:nvPr>
          </p:nvSpPr>
          <p:spPr>
            <a:xfrm>
              <a:off x="3946111" y="4112091"/>
              <a:ext cx="1371600" cy="411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solidFill>
                    <a:schemeClr val="accent1">
                      <a:lumMod val="75000"/>
                    </a:schemeClr>
                  </a:solidFill>
                  <a:latin typeface="Arial" pitchFamily="34" charset="0"/>
                  <a:cs typeface="Arial" pitchFamily="34" charset="0"/>
                </a:rPr>
                <a:t>Maintain and </a:t>
              </a:r>
            </a:p>
            <a:p>
              <a:pPr algn="ctr">
                <a:defRPr/>
              </a:pPr>
              <a:r>
                <a:rPr lang="en-US" sz="1050">
                  <a:solidFill>
                    <a:schemeClr val="accent1">
                      <a:lumMod val="75000"/>
                    </a:schemeClr>
                  </a:solidFill>
                  <a:latin typeface="Arial" pitchFamily="34" charset="0"/>
                  <a:cs typeface="Arial" pitchFamily="34" charset="0"/>
                </a:rPr>
                <a:t>Improve the SEMS</a:t>
              </a:r>
            </a:p>
          </p:txBody>
        </p:sp>
        <p:sp>
          <p:nvSpPr>
            <p:cNvPr id="6" name="Rectangle 5">
              <a:extLst>
                <a:ext uri="{FF2B5EF4-FFF2-40B4-BE49-F238E27FC236}">
                  <a16:creationId xmlns:a16="http://schemas.microsoft.com/office/drawing/2014/main" id="{34E2E359-6399-C26A-359B-33E9EDF4E169}"/>
                </a:ext>
              </a:extLst>
            </p:cNvPr>
            <p:cNvSpPr/>
            <p:nvPr>
              <p:custDataLst>
                <p:tags r:id="rId4"/>
              </p:custDataLst>
            </p:nvPr>
          </p:nvSpPr>
          <p:spPr>
            <a:xfrm>
              <a:off x="7047875" y="4127723"/>
              <a:ext cx="1261663" cy="348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solidFill>
                    <a:schemeClr val="accent1">
                      <a:lumMod val="75000"/>
                    </a:schemeClr>
                  </a:solidFill>
                  <a:latin typeface="Arial" pitchFamily="34" charset="0"/>
                  <a:cs typeface="Arial" pitchFamily="34" charset="0"/>
                </a:rPr>
                <a:t>Implement a SEMS</a:t>
              </a:r>
            </a:p>
          </p:txBody>
        </p:sp>
        <p:sp>
          <p:nvSpPr>
            <p:cNvPr id="7" name="Rectangle 6">
              <a:extLst>
                <a:ext uri="{FF2B5EF4-FFF2-40B4-BE49-F238E27FC236}">
                  <a16:creationId xmlns:a16="http://schemas.microsoft.com/office/drawing/2014/main" id="{6AA4DFC5-E7A2-BA89-1BA5-F25884B11E5C}"/>
                </a:ext>
              </a:extLst>
            </p:cNvPr>
            <p:cNvSpPr/>
            <p:nvPr>
              <p:custDataLst>
                <p:tags r:id="rId5"/>
              </p:custDataLst>
            </p:nvPr>
          </p:nvSpPr>
          <p:spPr>
            <a:xfrm>
              <a:off x="5509143" y="2684193"/>
              <a:ext cx="1164189" cy="366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50">
                  <a:solidFill>
                    <a:schemeClr val="accent1">
                      <a:lumMod val="75000"/>
                    </a:schemeClr>
                  </a:solidFill>
                  <a:latin typeface="Arial" pitchFamily="34" charset="0"/>
                  <a:cs typeface="Arial" pitchFamily="34" charset="0"/>
                </a:rPr>
                <a:t>Establish an SEMS</a:t>
              </a:r>
            </a:p>
          </p:txBody>
        </p:sp>
        <p:sp>
          <p:nvSpPr>
            <p:cNvPr id="8" name="Rectangle 7">
              <a:extLst>
                <a:ext uri="{FF2B5EF4-FFF2-40B4-BE49-F238E27FC236}">
                  <a16:creationId xmlns:a16="http://schemas.microsoft.com/office/drawing/2014/main" id="{BB5C4D1A-0C5E-BC2C-8F60-495ED257CC83}"/>
                </a:ext>
              </a:extLst>
            </p:cNvPr>
            <p:cNvSpPr/>
            <p:nvPr>
              <p:custDataLst>
                <p:tags r:id="rId6"/>
              </p:custDataLst>
            </p:nvPr>
          </p:nvSpPr>
          <p:spPr>
            <a:xfrm>
              <a:off x="5262025" y="4883253"/>
              <a:ext cx="1535097" cy="466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a:solidFill>
                    <a:schemeClr val="accent1">
                      <a:lumMod val="75000"/>
                    </a:schemeClr>
                  </a:solidFill>
                  <a:latin typeface="Arial" pitchFamily="34" charset="0"/>
                  <a:cs typeface="Arial" pitchFamily="34" charset="0"/>
                </a:rPr>
                <a:t>Monitor and Review</a:t>
              </a:r>
            </a:p>
            <a:p>
              <a:pPr algn="ctr">
                <a:defRPr/>
              </a:pPr>
              <a:r>
                <a:rPr lang="en-US" sz="1000">
                  <a:solidFill>
                    <a:schemeClr val="accent1">
                      <a:lumMod val="75000"/>
                    </a:schemeClr>
                  </a:solidFill>
                  <a:latin typeface="Arial" pitchFamily="34" charset="0"/>
                  <a:cs typeface="Arial" pitchFamily="34" charset="0"/>
                </a:rPr>
                <a:t>the EMS</a:t>
              </a:r>
            </a:p>
          </p:txBody>
        </p:sp>
        <p:sp>
          <p:nvSpPr>
            <p:cNvPr id="9" name="Rectangle 8">
              <a:extLst>
                <a:ext uri="{FF2B5EF4-FFF2-40B4-BE49-F238E27FC236}">
                  <a16:creationId xmlns:a16="http://schemas.microsoft.com/office/drawing/2014/main" id="{5E3AB963-6E41-3686-CBD0-4E81E25C25FC}"/>
                </a:ext>
              </a:extLst>
            </p:cNvPr>
            <p:cNvSpPr/>
            <p:nvPr/>
          </p:nvSpPr>
          <p:spPr bwMode="auto">
            <a:xfrm>
              <a:off x="8763000" y="1849542"/>
              <a:ext cx="1524000" cy="4114800"/>
            </a:xfrm>
            <a:prstGeom prst="rect">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defTabSz="711200">
                <a:lnSpc>
                  <a:spcPct val="90000"/>
                </a:lnSpc>
                <a:spcAft>
                  <a:spcPct val="35000"/>
                </a:spcAft>
                <a:defRPr/>
              </a:pPr>
              <a:endParaRPr lang="en-US" sz="1600">
                <a:solidFill>
                  <a:schemeClr val="bg1"/>
                </a:solidFill>
                <a:latin typeface="Arial" pitchFamily="34" charset="0"/>
                <a:cs typeface="Arial" pitchFamily="34" charset="0"/>
              </a:endParaRPr>
            </a:p>
          </p:txBody>
        </p:sp>
        <p:sp>
          <p:nvSpPr>
            <p:cNvPr id="10" name="Rectangle 9">
              <a:extLst>
                <a:ext uri="{FF2B5EF4-FFF2-40B4-BE49-F238E27FC236}">
                  <a16:creationId xmlns:a16="http://schemas.microsoft.com/office/drawing/2014/main" id="{8C78562E-3C7B-7E00-D3B6-B6235F966F9A}"/>
                </a:ext>
              </a:extLst>
            </p:cNvPr>
            <p:cNvSpPr/>
            <p:nvPr/>
          </p:nvSpPr>
          <p:spPr bwMode="auto">
            <a:xfrm>
              <a:off x="1981200" y="1849542"/>
              <a:ext cx="1524000" cy="4114800"/>
            </a:xfrm>
            <a:prstGeom prst="rect">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defTabSz="711200">
                <a:lnSpc>
                  <a:spcPct val="90000"/>
                </a:lnSpc>
                <a:spcAft>
                  <a:spcPct val="35000"/>
                </a:spcAft>
                <a:defRPr/>
              </a:pPr>
              <a:endParaRPr lang="en-US" b="1">
                <a:solidFill>
                  <a:schemeClr val="bg1"/>
                </a:solidFill>
                <a:latin typeface="Arial" pitchFamily="34" charset="0"/>
                <a:cs typeface="Arial" pitchFamily="34" charset="0"/>
              </a:endParaRPr>
            </a:p>
            <a:p>
              <a:pPr defTabSz="711200">
                <a:lnSpc>
                  <a:spcPct val="90000"/>
                </a:lnSpc>
                <a:spcAft>
                  <a:spcPct val="35000"/>
                </a:spcAft>
                <a:defRPr/>
              </a:pPr>
              <a:endParaRPr lang="en-US" b="1">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a:p>
              <a:pPr defTabSz="711200">
                <a:lnSpc>
                  <a:spcPct val="90000"/>
                </a:lnSpc>
                <a:spcAft>
                  <a:spcPct val="35000"/>
                </a:spcAft>
                <a:defRPr/>
              </a:pPr>
              <a:endParaRPr lang="en-US" sz="1600">
                <a:solidFill>
                  <a:schemeClr val="bg1"/>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8223CA46-8AF7-4124-E0C9-2C48334AF005}"/>
                </a:ext>
              </a:extLst>
            </p:cNvPr>
            <p:cNvSpPr/>
            <p:nvPr/>
          </p:nvSpPr>
          <p:spPr bwMode="auto">
            <a:xfrm>
              <a:off x="5410200" y="2230542"/>
              <a:ext cx="1371600" cy="381000"/>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a:defRPr/>
              </a:pPr>
              <a:r>
                <a:rPr lang="en-US" b="1">
                  <a:latin typeface="Arial" pitchFamily="34" charset="0"/>
                  <a:cs typeface="Arial" pitchFamily="34" charset="0"/>
                </a:rPr>
                <a:t>       Plan</a:t>
              </a:r>
            </a:p>
          </p:txBody>
        </p:sp>
        <p:sp>
          <p:nvSpPr>
            <p:cNvPr id="12" name="Rectangle 11">
              <a:extLst>
                <a:ext uri="{FF2B5EF4-FFF2-40B4-BE49-F238E27FC236}">
                  <a16:creationId xmlns:a16="http://schemas.microsoft.com/office/drawing/2014/main" id="{641EAFAF-76D5-47AC-CFB9-51EB98E176B4}"/>
                </a:ext>
              </a:extLst>
            </p:cNvPr>
            <p:cNvSpPr/>
            <p:nvPr/>
          </p:nvSpPr>
          <p:spPr bwMode="auto">
            <a:xfrm>
              <a:off x="5410200" y="5354742"/>
              <a:ext cx="1371600" cy="381000"/>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algn="ctr">
                <a:defRPr/>
              </a:pPr>
              <a:r>
                <a:rPr lang="en-US" b="1">
                  <a:latin typeface="Arial" pitchFamily="34" charset="0"/>
                  <a:cs typeface="Arial" pitchFamily="34" charset="0"/>
                </a:rPr>
                <a:t>Check</a:t>
              </a:r>
            </a:p>
          </p:txBody>
        </p:sp>
        <p:sp>
          <p:nvSpPr>
            <p:cNvPr id="13" name="Rectangle 12">
              <a:extLst>
                <a:ext uri="{FF2B5EF4-FFF2-40B4-BE49-F238E27FC236}">
                  <a16:creationId xmlns:a16="http://schemas.microsoft.com/office/drawing/2014/main" id="{2CE865CD-60A5-315B-BD21-01337DBE2822}"/>
                </a:ext>
              </a:extLst>
            </p:cNvPr>
            <p:cNvSpPr/>
            <p:nvPr/>
          </p:nvSpPr>
          <p:spPr bwMode="auto">
            <a:xfrm>
              <a:off x="3886200" y="3678342"/>
              <a:ext cx="1371600" cy="381000"/>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algn="ctr">
                <a:defRPr/>
              </a:pPr>
              <a:r>
                <a:rPr lang="en-US" b="1">
                  <a:latin typeface="Arial" pitchFamily="34" charset="0"/>
                  <a:cs typeface="Arial" pitchFamily="34" charset="0"/>
                </a:rPr>
                <a:t>Act</a:t>
              </a:r>
            </a:p>
          </p:txBody>
        </p:sp>
        <p:sp>
          <p:nvSpPr>
            <p:cNvPr id="14" name="Rectangle 13">
              <a:extLst>
                <a:ext uri="{FF2B5EF4-FFF2-40B4-BE49-F238E27FC236}">
                  <a16:creationId xmlns:a16="http://schemas.microsoft.com/office/drawing/2014/main" id="{AA52B9D4-CCAD-B51F-F8FA-BF54BE30B8E6}"/>
                </a:ext>
              </a:extLst>
            </p:cNvPr>
            <p:cNvSpPr/>
            <p:nvPr/>
          </p:nvSpPr>
          <p:spPr bwMode="auto">
            <a:xfrm>
              <a:off x="6934200" y="3678342"/>
              <a:ext cx="1371600" cy="381000"/>
            </a:xfrm>
            <a:prstGeom prst="rect">
              <a:avLst/>
            </a:prstGeom>
            <a:solidFill>
              <a:schemeClr val="accent1">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lIns="10160" tIns="10160" rIns="10160" bIns="10160" spcCol="1270" anchor="ctr"/>
            <a:lstStyle/>
            <a:p>
              <a:pPr algn="ctr">
                <a:defRPr/>
              </a:pPr>
              <a:r>
                <a:rPr lang="en-US" b="1">
                  <a:latin typeface="Arial" pitchFamily="34" charset="0"/>
                  <a:cs typeface="Arial" pitchFamily="34" charset="0"/>
                </a:rPr>
                <a:t>Do</a:t>
              </a:r>
            </a:p>
          </p:txBody>
        </p:sp>
        <p:grpSp>
          <p:nvGrpSpPr>
            <p:cNvPr id="15" name="Groupe 45">
              <a:extLst>
                <a:ext uri="{FF2B5EF4-FFF2-40B4-BE49-F238E27FC236}">
                  <a16:creationId xmlns:a16="http://schemas.microsoft.com/office/drawing/2014/main" id="{E6D1A039-7B99-81F8-D625-B468C06F127F}"/>
                </a:ext>
              </a:extLst>
            </p:cNvPr>
            <p:cNvGrpSpPr/>
            <p:nvPr/>
          </p:nvGrpSpPr>
          <p:grpSpPr>
            <a:xfrm rot="2544380" flipH="1">
              <a:off x="6947656" y="4627378"/>
              <a:ext cx="499903" cy="685800"/>
              <a:chOff x="5713966" y="737480"/>
              <a:chExt cx="625873" cy="625873"/>
            </a:xfrm>
          </p:grpSpPr>
          <p:sp>
            <p:nvSpPr>
              <p:cNvPr id="16" name="Flèche vers le bas 46">
                <a:extLst>
                  <a:ext uri="{FF2B5EF4-FFF2-40B4-BE49-F238E27FC236}">
                    <a16:creationId xmlns:a16="http://schemas.microsoft.com/office/drawing/2014/main" id="{9FF18590-9AD7-61BF-0223-5E0387DB4789}"/>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7" name="Flèche vers le bas 4">
                <a:extLst>
                  <a:ext uri="{FF2B5EF4-FFF2-40B4-BE49-F238E27FC236}">
                    <a16:creationId xmlns:a16="http://schemas.microsoft.com/office/drawing/2014/main" id="{60F70F6A-51F8-8F56-2300-7D9C024391D4}"/>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grpSp>
          <p:nvGrpSpPr>
            <p:cNvPr id="18" name="Groupe 48">
              <a:extLst>
                <a:ext uri="{FF2B5EF4-FFF2-40B4-BE49-F238E27FC236}">
                  <a16:creationId xmlns:a16="http://schemas.microsoft.com/office/drawing/2014/main" id="{F563EF88-99B8-4350-2719-F81306ACF330}"/>
                </a:ext>
              </a:extLst>
            </p:cNvPr>
            <p:cNvGrpSpPr/>
            <p:nvPr/>
          </p:nvGrpSpPr>
          <p:grpSpPr>
            <a:xfrm rot="8361251" flipH="1">
              <a:off x="4599064" y="4588852"/>
              <a:ext cx="499903" cy="685800"/>
              <a:chOff x="5713966" y="737480"/>
              <a:chExt cx="625873" cy="625873"/>
            </a:xfrm>
          </p:grpSpPr>
          <p:sp>
            <p:nvSpPr>
              <p:cNvPr id="19" name="Flèche vers le bas 49">
                <a:extLst>
                  <a:ext uri="{FF2B5EF4-FFF2-40B4-BE49-F238E27FC236}">
                    <a16:creationId xmlns:a16="http://schemas.microsoft.com/office/drawing/2014/main" id="{40128414-ECE8-7326-B29F-6A23A239C8E5}"/>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0" name="Flèche vers le bas 4">
                <a:extLst>
                  <a:ext uri="{FF2B5EF4-FFF2-40B4-BE49-F238E27FC236}">
                    <a16:creationId xmlns:a16="http://schemas.microsoft.com/office/drawing/2014/main" id="{195C9261-45A5-CEAB-148A-70B40CFE95B5}"/>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grpSp>
          <p:nvGrpSpPr>
            <p:cNvPr id="21" name="Groupe 51">
              <a:extLst>
                <a:ext uri="{FF2B5EF4-FFF2-40B4-BE49-F238E27FC236}">
                  <a16:creationId xmlns:a16="http://schemas.microsoft.com/office/drawing/2014/main" id="{A4B5026F-0B2D-49D6-3658-74CD11FB8EDD}"/>
                </a:ext>
              </a:extLst>
            </p:cNvPr>
            <p:cNvGrpSpPr/>
            <p:nvPr/>
          </p:nvGrpSpPr>
          <p:grpSpPr>
            <a:xfrm rot="13527782" flipH="1">
              <a:off x="4664322" y="2688177"/>
              <a:ext cx="499903" cy="685800"/>
              <a:chOff x="5713966" y="737480"/>
              <a:chExt cx="625873" cy="625873"/>
            </a:xfrm>
          </p:grpSpPr>
          <p:sp>
            <p:nvSpPr>
              <p:cNvPr id="22" name="Flèche vers le bas 52">
                <a:extLst>
                  <a:ext uri="{FF2B5EF4-FFF2-40B4-BE49-F238E27FC236}">
                    <a16:creationId xmlns:a16="http://schemas.microsoft.com/office/drawing/2014/main" id="{2BC0EB1F-ABF9-9E10-E5AF-73901DDEC804}"/>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3" name="Flèche vers le bas 4">
                <a:extLst>
                  <a:ext uri="{FF2B5EF4-FFF2-40B4-BE49-F238E27FC236}">
                    <a16:creationId xmlns:a16="http://schemas.microsoft.com/office/drawing/2014/main" id="{7027F3AE-DBB9-5583-C15A-9D9D93112152}"/>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grpSp>
          <p:nvGrpSpPr>
            <p:cNvPr id="24" name="Groupe 54">
              <a:extLst>
                <a:ext uri="{FF2B5EF4-FFF2-40B4-BE49-F238E27FC236}">
                  <a16:creationId xmlns:a16="http://schemas.microsoft.com/office/drawing/2014/main" id="{C8FF264C-5A45-8E4A-C585-632D2AAC408A}"/>
                </a:ext>
              </a:extLst>
            </p:cNvPr>
            <p:cNvGrpSpPr/>
            <p:nvPr/>
          </p:nvGrpSpPr>
          <p:grpSpPr>
            <a:xfrm rot="18877198" flipH="1">
              <a:off x="7097275" y="2760058"/>
              <a:ext cx="499903" cy="685800"/>
              <a:chOff x="5713966" y="737480"/>
              <a:chExt cx="625873" cy="625873"/>
            </a:xfrm>
          </p:grpSpPr>
          <p:sp>
            <p:nvSpPr>
              <p:cNvPr id="25" name="Flèche vers le bas 55">
                <a:extLst>
                  <a:ext uri="{FF2B5EF4-FFF2-40B4-BE49-F238E27FC236}">
                    <a16:creationId xmlns:a16="http://schemas.microsoft.com/office/drawing/2014/main" id="{F7D9877F-0742-AF45-5274-7438993B5459}"/>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6" name="Flèche vers le bas 4">
                <a:extLst>
                  <a:ext uri="{FF2B5EF4-FFF2-40B4-BE49-F238E27FC236}">
                    <a16:creationId xmlns:a16="http://schemas.microsoft.com/office/drawing/2014/main" id="{409CF3E7-FE92-F7BB-0F8F-5B96501CF030}"/>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grpSp>
          <p:nvGrpSpPr>
            <p:cNvPr id="27" name="Groupe 38">
              <a:extLst>
                <a:ext uri="{FF2B5EF4-FFF2-40B4-BE49-F238E27FC236}">
                  <a16:creationId xmlns:a16="http://schemas.microsoft.com/office/drawing/2014/main" id="{798FAE27-E37D-69C9-D58B-78C0CF3CAED7}"/>
                </a:ext>
              </a:extLst>
            </p:cNvPr>
            <p:cNvGrpSpPr/>
            <p:nvPr/>
          </p:nvGrpSpPr>
          <p:grpSpPr>
            <a:xfrm rot="5400000" flipH="1" flipV="1">
              <a:off x="3826749" y="5414194"/>
              <a:ext cx="499903" cy="685800"/>
              <a:chOff x="5713966" y="737480"/>
              <a:chExt cx="625873" cy="625873"/>
            </a:xfrm>
          </p:grpSpPr>
          <p:sp>
            <p:nvSpPr>
              <p:cNvPr id="28" name="Flèche vers le bas 35">
                <a:extLst>
                  <a:ext uri="{FF2B5EF4-FFF2-40B4-BE49-F238E27FC236}">
                    <a16:creationId xmlns:a16="http://schemas.microsoft.com/office/drawing/2014/main" id="{AF28B21B-F730-3D62-E6AF-968C5030DDFB}"/>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9" name="Flèche vers le bas 4">
                <a:extLst>
                  <a:ext uri="{FF2B5EF4-FFF2-40B4-BE49-F238E27FC236}">
                    <a16:creationId xmlns:a16="http://schemas.microsoft.com/office/drawing/2014/main" id="{157C7FA1-21E4-1F47-4A47-095CB5A53290}"/>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grpSp>
          <p:nvGrpSpPr>
            <p:cNvPr id="30" name="Groupe 38">
              <a:extLst>
                <a:ext uri="{FF2B5EF4-FFF2-40B4-BE49-F238E27FC236}">
                  <a16:creationId xmlns:a16="http://schemas.microsoft.com/office/drawing/2014/main" id="{E9084B78-5EAD-DE0B-D317-DB64FAD1FF60}"/>
                </a:ext>
              </a:extLst>
            </p:cNvPr>
            <p:cNvGrpSpPr/>
            <p:nvPr/>
          </p:nvGrpSpPr>
          <p:grpSpPr>
            <a:xfrm rot="5400000" flipH="1" flipV="1">
              <a:off x="7865350" y="5414194"/>
              <a:ext cx="499903" cy="685800"/>
              <a:chOff x="5713966" y="737480"/>
              <a:chExt cx="625873" cy="625873"/>
            </a:xfrm>
          </p:grpSpPr>
          <p:sp>
            <p:nvSpPr>
              <p:cNvPr id="31" name="Flèche vers le bas 48">
                <a:extLst>
                  <a:ext uri="{FF2B5EF4-FFF2-40B4-BE49-F238E27FC236}">
                    <a16:creationId xmlns:a16="http://schemas.microsoft.com/office/drawing/2014/main" id="{4C241632-D954-9012-CB80-84A47E2D537A}"/>
                  </a:ext>
                </a:extLst>
              </p:cNvPr>
              <p:cNvSpPr/>
              <p:nvPr/>
            </p:nvSpPr>
            <p:spPr>
              <a:xfrm>
                <a:off x="5713966" y="737480"/>
                <a:ext cx="625873" cy="625873"/>
              </a:xfrm>
              <a:prstGeom prst="downArrow">
                <a:avLst>
                  <a:gd name="adj1" fmla="val 55000"/>
                  <a:gd name="adj2" fmla="val 45000"/>
                </a:avLst>
              </a:prstGeom>
              <a:solidFill>
                <a:schemeClr val="bg1">
                  <a:alpha val="90000"/>
                </a:schemeClr>
              </a:solidFill>
              <a:ln>
                <a:solidFill>
                  <a:srgbClr val="CA2026">
                    <a:alpha val="90000"/>
                  </a:srgb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32" name="Flèche vers le bas 4">
                <a:extLst>
                  <a:ext uri="{FF2B5EF4-FFF2-40B4-BE49-F238E27FC236}">
                    <a16:creationId xmlns:a16="http://schemas.microsoft.com/office/drawing/2014/main" id="{35BA33B8-1F4D-2E35-10C7-C1183F3A1CBD}"/>
                  </a:ext>
                </a:extLst>
              </p:cNvPr>
              <p:cNvSpPr/>
              <p:nvPr/>
            </p:nvSpPr>
            <p:spPr>
              <a:xfrm>
                <a:off x="5854787" y="737480"/>
                <a:ext cx="344231" cy="4709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100" tIns="38100" rIns="38100" bIns="38100" numCol="1" spcCol="1270" anchor="ctr" anchorCtr="0">
                <a:noAutofit/>
              </a:bodyPr>
              <a:lstStyle/>
              <a:p>
                <a:pPr algn="ctr" defTabSz="1333500">
                  <a:lnSpc>
                    <a:spcPct val="90000"/>
                  </a:lnSpc>
                  <a:spcBef>
                    <a:spcPct val="0"/>
                  </a:spcBef>
                  <a:spcAft>
                    <a:spcPct val="35000"/>
                  </a:spcAft>
                </a:pPr>
                <a:endParaRPr lang="en-CA" sz="3000"/>
              </a:p>
            </p:txBody>
          </p:sp>
        </p:grpSp>
        <p:sp>
          <p:nvSpPr>
            <p:cNvPr id="33" name="Espace réservé du contenu 5">
              <a:extLst>
                <a:ext uri="{FF2B5EF4-FFF2-40B4-BE49-F238E27FC236}">
                  <a16:creationId xmlns:a16="http://schemas.microsoft.com/office/drawing/2014/main" id="{CA296858-09C1-C340-66D0-7C38F2E35434}"/>
                </a:ext>
              </a:extLst>
            </p:cNvPr>
            <p:cNvSpPr txBox="1">
              <a:spLocks/>
            </p:cNvSpPr>
            <p:nvPr/>
          </p:nvSpPr>
          <p:spPr>
            <a:xfrm>
              <a:off x="2066573" y="4766897"/>
              <a:ext cx="1352903" cy="1197445"/>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a:solidFill>
                    <a:schemeClr val="bg1"/>
                  </a:solidFill>
                </a:rPr>
                <a:t>Sustainable Event Management Requirements and Expectations</a:t>
              </a:r>
            </a:p>
          </p:txBody>
        </p:sp>
        <p:sp>
          <p:nvSpPr>
            <p:cNvPr id="34" name="Espace réservé du contenu 5">
              <a:extLst>
                <a:ext uri="{FF2B5EF4-FFF2-40B4-BE49-F238E27FC236}">
                  <a16:creationId xmlns:a16="http://schemas.microsoft.com/office/drawing/2014/main" id="{64E0C5B2-383E-64B4-140F-B7A706F86DA5}"/>
                </a:ext>
              </a:extLst>
            </p:cNvPr>
            <p:cNvSpPr txBox="1">
              <a:spLocks/>
            </p:cNvSpPr>
            <p:nvPr/>
          </p:nvSpPr>
          <p:spPr>
            <a:xfrm>
              <a:off x="2066573" y="2011468"/>
              <a:ext cx="1412970" cy="600074"/>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a:solidFill>
                    <a:schemeClr val="bg1"/>
                  </a:solidFill>
                </a:rPr>
                <a:t>Interested Parties</a:t>
              </a:r>
            </a:p>
          </p:txBody>
        </p:sp>
        <p:sp>
          <p:nvSpPr>
            <p:cNvPr id="35" name="Espace réservé du contenu 5">
              <a:extLst>
                <a:ext uri="{FF2B5EF4-FFF2-40B4-BE49-F238E27FC236}">
                  <a16:creationId xmlns:a16="http://schemas.microsoft.com/office/drawing/2014/main" id="{5CCA197E-2C48-3526-EA18-1FEED64B848E}"/>
                </a:ext>
              </a:extLst>
            </p:cNvPr>
            <p:cNvSpPr txBox="1">
              <a:spLocks/>
            </p:cNvSpPr>
            <p:nvPr/>
          </p:nvSpPr>
          <p:spPr>
            <a:xfrm>
              <a:off x="8893603" y="5020897"/>
              <a:ext cx="1352903" cy="1197445"/>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bg1"/>
                  </a:solidFill>
                </a:rPr>
                <a:t>Sustainable Event Management System</a:t>
              </a:r>
            </a:p>
          </p:txBody>
        </p:sp>
        <p:sp>
          <p:nvSpPr>
            <p:cNvPr id="36" name="Espace réservé du contenu 5">
              <a:extLst>
                <a:ext uri="{FF2B5EF4-FFF2-40B4-BE49-F238E27FC236}">
                  <a16:creationId xmlns:a16="http://schemas.microsoft.com/office/drawing/2014/main" id="{671C5EEF-52F7-2F36-6867-05DC04FDFDEA}"/>
                </a:ext>
              </a:extLst>
            </p:cNvPr>
            <p:cNvSpPr txBox="1">
              <a:spLocks/>
            </p:cNvSpPr>
            <p:nvPr/>
          </p:nvSpPr>
          <p:spPr>
            <a:xfrm>
              <a:off x="8893603" y="2083010"/>
              <a:ext cx="1412970" cy="600074"/>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dirty="0">
                  <a:solidFill>
                    <a:schemeClr val="bg1"/>
                  </a:solidFill>
                </a:rPr>
                <a:t>Interested Parties</a:t>
              </a:r>
            </a:p>
          </p:txBody>
        </p:sp>
      </p:grpSp>
    </p:spTree>
    <p:extLst>
      <p:ext uri="{BB962C8B-B14F-4D97-AF65-F5344CB8AC3E}">
        <p14:creationId xmlns:p14="http://schemas.microsoft.com/office/powerpoint/2010/main" val="3592160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circle(out)">
                                      <p:cBhvr>
                                        <p:cTn id="7" dur="2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7">
            <a:extLst>
              <a:ext uri="{FF2B5EF4-FFF2-40B4-BE49-F238E27FC236}">
                <a16:creationId xmlns:a16="http://schemas.microsoft.com/office/drawing/2014/main" id="{156C8E57-434F-3E6D-2663-42FA7F09B2DB}"/>
              </a:ext>
            </a:extLst>
          </p:cNvPr>
          <p:cNvPicPr>
            <a:picLocks noChangeAspect="1" noChangeArrowheads="1"/>
          </p:cNvPicPr>
          <p:nvPr/>
        </p:nvPicPr>
        <p:blipFill>
          <a:blip r:embed="rId3" cstate="print">
            <a:lum bright="18000"/>
          </a:blip>
          <a:srcRect/>
          <a:stretch>
            <a:fillRect/>
          </a:stretch>
        </p:blipFill>
        <p:spPr bwMode="gray">
          <a:xfrm>
            <a:off x="1347904" y="3725863"/>
            <a:ext cx="2919297" cy="494408"/>
          </a:xfrm>
          <a:prstGeom prst="rect">
            <a:avLst/>
          </a:prstGeom>
          <a:noFill/>
          <a:ln w="9525">
            <a:noFill/>
            <a:miter lim="800000"/>
            <a:headEnd/>
            <a:tailEnd/>
          </a:ln>
        </p:spPr>
      </p:pic>
      <p:pic>
        <p:nvPicPr>
          <p:cNvPr id="4" name="Picture 58">
            <a:extLst>
              <a:ext uri="{FF2B5EF4-FFF2-40B4-BE49-F238E27FC236}">
                <a16:creationId xmlns:a16="http://schemas.microsoft.com/office/drawing/2014/main" id="{30C55EFB-9D2C-4579-7B1F-AE2AF5413CB3}"/>
              </a:ext>
            </a:extLst>
          </p:cNvPr>
          <p:cNvPicPr>
            <a:picLocks noChangeAspect="1" noChangeArrowheads="1"/>
          </p:cNvPicPr>
          <p:nvPr/>
        </p:nvPicPr>
        <p:blipFill>
          <a:blip r:embed="rId3" cstate="print">
            <a:lum bright="18000"/>
          </a:blip>
          <a:srcRect/>
          <a:stretch>
            <a:fillRect/>
          </a:stretch>
        </p:blipFill>
        <p:spPr bwMode="gray">
          <a:xfrm>
            <a:off x="3405306" y="3725863"/>
            <a:ext cx="2919295" cy="494408"/>
          </a:xfrm>
          <a:prstGeom prst="rect">
            <a:avLst/>
          </a:prstGeom>
          <a:noFill/>
          <a:ln w="9525">
            <a:noFill/>
            <a:miter lim="800000"/>
            <a:headEnd/>
            <a:tailEnd/>
          </a:ln>
        </p:spPr>
      </p:pic>
      <p:pic>
        <p:nvPicPr>
          <p:cNvPr id="5" name="Picture 59">
            <a:extLst>
              <a:ext uri="{FF2B5EF4-FFF2-40B4-BE49-F238E27FC236}">
                <a16:creationId xmlns:a16="http://schemas.microsoft.com/office/drawing/2014/main" id="{29E8F809-02B5-C4E6-BB22-E9C559990D3B}"/>
              </a:ext>
            </a:extLst>
          </p:cNvPr>
          <p:cNvPicPr>
            <a:picLocks noChangeAspect="1" noChangeArrowheads="1"/>
          </p:cNvPicPr>
          <p:nvPr/>
        </p:nvPicPr>
        <p:blipFill>
          <a:blip r:embed="rId3" cstate="print">
            <a:lum bright="18000"/>
          </a:blip>
          <a:srcRect/>
          <a:stretch>
            <a:fillRect/>
          </a:stretch>
        </p:blipFill>
        <p:spPr bwMode="gray">
          <a:xfrm>
            <a:off x="5715001" y="3725863"/>
            <a:ext cx="2919297" cy="494408"/>
          </a:xfrm>
          <a:prstGeom prst="rect">
            <a:avLst/>
          </a:prstGeom>
          <a:noFill/>
          <a:ln w="9525">
            <a:noFill/>
            <a:miter lim="800000"/>
            <a:headEnd/>
            <a:tailEnd/>
          </a:ln>
        </p:spPr>
      </p:pic>
      <p:pic>
        <p:nvPicPr>
          <p:cNvPr id="6" name="Picture 59">
            <a:extLst>
              <a:ext uri="{FF2B5EF4-FFF2-40B4-BE49-F238E27FC236}">
                <a16:creationId xmlns:a16="http://schemas.microsoft.com/office/drawing/2014/main" id="{22FA310C-4F02-A5D2-A333-341DA9431FBF}"/>
              </a:ext>
            </a:extLst>
          </p:cNvPr>
          <p:cNvPicPr>
            <a:picLocks noChangeAspect="1" noChangeArrowheads="1"/>
          </p:cNvPicPr>
          <p:nvPr/>
        </p:nvPicPr>
        <p:blipFill>
          <a:blip r:embed="rId3" cstate="print">
            <a:lum bright="18000"/>
          </a:blip>
          <a:srcRect/>
          <a:stretch>
            <a:fillRect/>
          </a:stretch>
        </p:blipFill>
        <p:spPr bwMode="gray">
          <a:xfrm>
            <a:off x="7924801" y="3725863"/>
            <a:ext cx="2919297" cy="494408"/>
          </a:xfrm>
          <a:prstGeom prst="rect">
            <a:avLst/>
          </a:prstGeom>
          <a:noFill/>
          <a:ln w="9525">
            <a:noFill/>
            <a:miter lim="800000"/>
            <a:headEnd/>
            <a:tailEnd/>
          </a:ln>
        </p:spPr>
      </p:pic>
      <p:grpSp>
        <p:nvGrpSpPr>
          <p:cNvPr id="7" name="Group 117">
            <a:extLst>
              <a:ext uri="{FF2B5EF4-FFF2-40B4-BE49-F238E27FC236}">
                <a16:creationId xmlns:a16="http://schemas.microsoft.com/office/drawing/2014/main" id="{3D9F93E1-39A3-236F-75CA-C9231FA7A471}"/>
              </a:ext>
            </a:extLst>
          </p:cNvPr>
          <p:cNvGrpSpPr>
            <a:grpSpLocks/>
          </p:cNvGrpSpPr>
          <p:nvPr/>
        </p:nvGrpSpPr>
        <p:grpSpPr bwMode="auto">
          <a:xfrm>
            <a:off x="4069836" y="3009795"/>
            <a:ext cx="1828800" cy="1097280"/>
            <a:chOff x="1461" y="1432"/>
            <a:chExt cx="612" cy="408"/>
          </a:xfrm>
        </p:grpSpPr>
        <p:grpSp>
          <p:nvGrpSpPr>
            <p:cNvPr id="8" name="Group 61">
              <a:extLst>
                <a:ext uri="{FF2B5EF4-FFF2-40B4-BE49-F238E27FC236}">
                  <a16:creationId xmlns:a16="http://schemas.microsoft.com/office/drawing/2014/main" id="{EC03DCF5-7DAE-2E2E-21BE-DE32253C6876}"/>
                </a:ext>
              </a:extLst>
            </p:cNvPr>
            <p:cNvGrpSpPr>
              <a:grpSpLocks/>
            </p:cNvGrpSpPr>
            <p:nvPr/>
          </p:nvGrpSpPr>
          <p:grpSpPr bwMode="auto">
            <a:xfrm>
              <a:off x="1461" y="1432"/>
              <a:ext cx="612" cy="408"/>
              <a:chOff x="3230" y="2168"/>
              <a:chExt cx="367" cy="245"/>
            </a:xfrm>
          </p:grpSpPr>
          <p:sp>
            <p:nvSpPr>
              <p:cNvPr id="10" name="Freeform 62">
                <a:extLst>
                  <a:ext uri="{FF2B5EF4-FFF2-40B4-BE49-F238E27FC236}">
                    <a16:creationId xmlns:a16="http://schemas.microsoft.com/office/drawing/2014/main" id="{A2831DF7-0113-4002-84A5-1F5D73D887B1}"/>
                  </a:ext>
                </a:extLst>
              </p:cNvPr>
              <p:cNvSpPr>
                <a:spLocks/>
              </p:cNvSpPr>
              <p:nvPr/>
            </p:nvSpPr>
            <p:spPr bwMode="gray">
              <a:xfrm>
                <a:off x="3230" y="2168"/>
                <a:ext cx="367" cy="245"/>
              </a:xfrm>
              <a:custGeom>
                <a:avLst/>
                <a:gdLst/>
                <a:ahLst/>
                <a:cxnLst>
                  <a:cxn ang="0">
                    <a:pos x="480" y="0"/>
                  </a:cxn>
                  <a:cxn ang="0">
                    <a:pos x="0" y="0"/>
                  </a:cxn>
                  <a:cxn ang="0">
                    <a:pos x="0" y="319"/>
                  </a:cxn>
                  <a:cxn ang="0">
                    <a:pos x="0" y="645"/>
                  </a:cxn>
                  <a:cxn ang="0">
                    <a:pos x="480" y="645"/>
                  </a:cxn>
                  <a:cxn ang="0">
                    <a:pos x="964" y="645"/>
                  </a:cxn>
                  <a:cxn ang="0">
                    <a:pos x="964" y="319"/>
                  </a:cxn>
                  <a:cxn ang="0">
                    <a:pos x="964" y="0"/>
                  </a:cxn>
                  <a:cxn ang="0">
                    <a:pos x="480" y="0"/>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635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CA"/>
              </a:p>
            </p:txBody>
          </p:sp>
          <p:sp>
            <p:nvSpPr>
              <p:cNvPr id="11" name="Freeform 63">
                <a:extLst>
                  <a:ext uri="{FF2B5EF4-FFF2-40B4-BE49-F238E27FC236}">
                    <a16:creationId xmlns:a16="http://schemas.microsoft.com/office/drawing/2014/main" id="{115AA568-F08E-88D9-C35C-CECF61B6E6CF}"/>
                  </a:ext>
                </a:extLst>
              </p:cNvPr>
              <p:cNvSpPr>
                <a:spLocks/>
              </p:cNvSpPr>
              <p:nvPr/>
            </p:nvSpPr>
            <p:spPr bwMode="gray">
              <a:xfrm>
                <a:off x="3241" y="2178"/>
                <a:ext cx="343" cy="117"/>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6350" cap="rnd">
                <a:noFill/>
                <a:miter lim="800000"/>
                <a:headEnd/>
                <a:tailEnd/>
              </a:ln>
            </p:spPr>
            <p:txBody>
              <a:bodyPr/>
              <a:lstStyle/>
              <a:p>
                <a:endParaRPr lang="en-CA"/>
              </a:p>
            </p:txBody>
          </p:sp>
        </p:grpSp>
        <p:sp>
          <p:nvSpPr>
            <p:cNvPr id="9" name="Text Box 64">
              <a:extLst>
                <a:ext uri="{FF2B5EF4-FFF2-40B4-BE49-F238E27FC236}">
                  <a16:creationId xmlns:a16="http://schemas.microsoft.com/office/drawing/2014/main" id="{F87063F2-48DD-1A89-2976-0FDB3DFBD017}"/>
                </a:ext>
              </a:extLst>
            </p:cNvPr>
            <p:cNvSpPr txBox="1">
              <a:spLocks noChangeArrowheads="1"/>
            </p:cNvSpPr>
            <p:nvPr/>
          </p:nvSpPr>
          <p:spPr bwMode="gray">
            <a:xfrm>
              <a:off x="1523" y="1528"/>
              <a:ext cx="494" cy="223"/>
            </a:xfrm>
            <a:prstGeom prst="rect">
              <a:avLst/>
            </a:prstGeom>
            <a:noFill/>
            <a:ln w="9525">
              <a:noFill/>
              <a:miter lim="800000"/>
              <a:headEnd/>
              <a:tailEnd/>
            </a:ln>
          </p:spPr>
          <p:txBody>
            <a:bodyPr wrap="none" lIns="0" tIns="0" rIns="0" bIns="0" anchor="ctr"/>
            <a:lstStyle/>
            <a:p>
              <a:pPr lvl="0"/>
              <a:r>
                <a:rPr lang="en-CA" sz="1200" dirty="0"/>
                <a:t>Understanding the </a:t>
              </a:r>
            </a:p>
            <a:p>
              <a:pPr lvl="0"/>
              <a:r>
                <a:rPr lang="en-CA" sz="1200" dirty="0"/>
                <a:t>Needs and </a:t>
              </a:r>
            </a:p>
            <a:p>
              <a:pPr lvl="0"/>
              <a:r>
                <a:rPr lang="en-CA" sz="1200" dirty="0"/>
                <a:t>Expectations of </a:t>
              </a:r>
            </a:p>
            <a:p>
              <a:pPr lvl="0"/>
              <a:r>
                <a:rPr lang="en-CA" sz="1200" dirty="0"/>
                <a:t>Interested Parties</a:t>
              </a:r>
            </a:p>
          </p:txBody>
        </p:sp>
      </p:grpSp>
      <p:grpSp>
        <p:nvGrpSpPr>
          <p:cNvPr id="12" name="Group 118">
            <a:extLst>
              <a:ext uri="{FF2B5EF4-FFF2-40B4-BE49-F238E27FC236}">
                <a16:creationId xmlns:a16="http://schemas.microsoft.com/office/drawing/2014/main" id="{2BB94050-7EE6-4B9A-03F8-7A6F94611796}"/>
              </a:ext>
            </a:extLst>
          </p:cNvPr>
          <p:cNvGrpSpPr>
            <a:grpSpLocks/>
          </p:cNvGrpSpPr>
          <p:nvPr/>
        </p:nvGrpSpPr>
        <p:grpSpPr bwMode="auto">
          <a:xfrm>
            <a:off x="6278977" y="3012440"/>
            <a:ext cx="1828800" cy="1097280"/>
            <a:chOff x="2414" y="1432"/>
            <a:chExt cx="612" cy="408"/>
          </a:xfrm>
        </p:grpSpPr>
        <p:grpSp>
          <p:nvGrpSpPr>
            <p:cNvPr id="13" name="Group 66">
              <a:extLst>
                <a:ext uri="{FF2B5EF4-FFF2-40B4-BE49-F238E27FC236}">
                  <a16:creationId xmlns:a16="http://schemas.microsoft.com/office/drawing/2014/main" id="{02282B0A-B42E-921F-5ED8-66E11CDC0529}"/>
                </a:ext>
              </a:extLst>
            </p:cNvPr>
            <p:cNvGrpSpPr>
              <a:grpSpLocks/>
            </p:cNvGrpSpPr>
            <p:nvPr/>
          </p:nvGrpSpPr>
          <p:grpSpPr bwMode="auto">
            <a:xfrm>
              <a:off x="2414" y="1432"/>
              <a:ext cx="612" cy="408"/>
              <a:chOff x="3230" y="2168"/>
              <a:chExt cx="367" cy="245"/>
            </a:xfrm>
          </p:grpSpPr>
          <p:sp>
            <p:nvSpPr>
              <p:cNvPr id="15" name="Freeform 67">
                <a:extLst>
                  <a:ext uri="{FF2B5EF4-FFF2-40B4-BE49-F238E27FC236}">
                    <a16:creationId xmlns:a16="http://schemas.microsoft.com/office/drawing/2014/main" id="{AA845A8A-7AD8-332D-9F2B-1F34392B4DA4}"/>
                  </a:ext>
                </a:extLst>
              </p:cNvPr>
              <p:cNvSpPr>
                <a:spLocks/>
              </p:cNvSpPr>
              <p:nvPr/>
            </p:nvSpPr>
            <p:spPr bwMode="gray">
              <a:xfrm>
                <a:off x="3230" y="2168"/>
                <a:ext cx="367" cy="245"/>
              </a:xfrm>
              <a:custGeom>
                <a:avLst/>
                <a:gdLst/>
                <a:ahLst/>
                <a:cxnLst>
                  <a:cxn ang="0">
                    <a:pos x="480" y="0"/>
                  </a:cxn>
                  <a:cxn ang="0">
                    <a:pos x="0" y="0"/>
                  </a:cxn>
                  <a:cxn ang="0">
                    <a:pos x="0" y="319"/>
                  </a:cxn>
                  <a:cxn ang="0">
                    <a:pos x="0" y="645"/>
                  </a:cxn>
                  <a:cxn ang="0">
                    <a:pos x="480" y="645"/>
                  </a:cxn>
                  <a:cxn ang="0">
                    <a:pos x="964" y="645"/>
                  </a:cxn>
                  <a:cxn ang="0">
                    <a:pos x="964" y="319"/>
                  </a:cxn>
                  <a:cxn ang="0">
                    <a:pos x="964" y="0"/>
                  </a:cxn>
                  <a:cxn ang="0">
                    <a:pos x="480" y="0"/>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635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CA"/>
              </a:p>
            </p:txBody>
          </p:sp>
          <p:sp>
            <p:nvSpPr>
              <p:cNvPr id="16" name="Freeform 68">
                <a:extLst>
                  <a:ext uri="{FF2B5EF4-FFF2-40B4-BE49-F238E27FC236}">
                    <a16:creationId xmlns:a16="http://schemas.microsoft.com/office/drawing/2014/main" id="{3FD9F304-ADFA-E39D-19CC-EEC10FAC410B}"/>
                  </a:ext>
                </a:extLst>
              </p:cNvPr>
              <p:cNvSpPr>
                <a:spLocks/>
              </p:cNvSpPr>
              <p:nvPr/>
            </p:nvSpPr>
            <p:spPr bwMode="gray">
              <a:xfrm>
                <a:off x="3241" y="2178"/>
                <a:ext cx="343" cy="117"/>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6350" cap="rnd">
                <a:noFill/>
                <a:miter lim="800000"/>
                <a:headEnd/>
                <a:tailEnd/>
              </a:ln>
            </p:spPr>
            <p:txBody>
              <a:bodyPr/>
              <a:lstStyle/>
              <a:p>
                <a:endParaRPr lang="en-CA"/>
              </a:p>
            </p:txBody>
          </p:sp>
        </p:grpSp>
        <p:sp>
          <p:nvSpPr>
            <p:cNvPr id="14" name="Text Box 69">
              <a:extLst>
                <a:ext uri="{FF2B5EF4-FFF2-40B4-BE49-F238E27FC236}">
                  <a16:creationId xmlns:a16="http://schemas.microsoft.com/office/drawing/2014/main" id="{1CD7911E-1F49-D91E-DE1F-B479AE07FA5B}"/>
                </a:ext>
              </a:extLst>
            </p:cNvPr>
            <p:cNvSpPr txBox="1">
              <a:spLocks noChangeArrowheads="1"/>
            </p:cNvSpPr>
            <p:nvPr/>
          </p:nvSpPr>
          <p:spPr bwMode="gray">
            <a:xfrm>
              <a:off x="2476" y="1528"/>
              <a:ext cx="494" cy="223"/>
            </a:xfrm>
            <a:prstGeom prst="rect">
              <a:avLst/>
            </a:prstGeom>
            <a:noFill/>
            <a:ln w="9525">
              <a:noFill/>
              <a:miter lim="800000"/>
              <a:headEnd/>
              <a:tailEnd/>
            </a:ln>
          </p:spPr>
          <p:txBody>
            <a:bodyPr wrap="none" lIns="0" tIns="0" rIns="0" bIns="0" anchor="ctr"/>
            <a:lstStyle/>
            <a:p>
              <a:pPr lvl="0"/>
              <a:r>
                <a:rPr lang="en-CA" sz="1200" dirty="0"/>
                <a:t>Determining the </a:t>
              </a:r>
            </a:p>
            <a:p>
              <a:pPr lvl="0"/>
              <a:r>
                <a:rPr lang="en-CA" sz="1200" dirty="0"/>
                <a:t>Scope of the </a:t>
              </a:r>
            </a:p>
            <a:p>
              <a:pPr lvl="0"/>
              <a:r>
                <a:rPr lang="en-CA" sz="1200" dirty="0"/>
                <a:t>SEMS </a:t>
              </a:r>
            </a:p>
          </p:txBody>
        </p:sp>
      </p:grpSp>
      <p:grpSp>
        <p:nvGrpSpPr>
          <p:cNvPr id="18" name="Group 118">
            <a:extLst>
              <a:ext uri="{FF2B5EF4-FFF2-40B4-BE49-F238E27FC236}">
                <a16:creationId xmlns:a16="http://schemas.microsoft.com/office/drawing/2014/main" id="{1F900AE4-ADCD-4DB9-8D57-B6DC69D7C7CE}"/>
              </a:ext>
            </a:extLst>
          </p:cNvPr>
          <p:cNvGrpSpPr>
            <a:grpSpLocks/>
          </p:cNvGrpSpPr>
          <p:nvPr/>
        </p:nvGrpSpPr>
        <p:grpSpPr bwMode="auto">
          <a:xfrm>
            <a:off x="8488118" y="3007149"/>
            <a:ext cx="1828800" cy="1097280"/>
            <a:chOff x="2414" y="1432"/>
            <a:chExt cx="612" cy="408"/>
          </a:xfrm>
        </p:grpSpPr>
        <p:grpSp>
          <p:nvGrpSpPr>
            <p:cNvPr id="19" name="Group 66">
              <a:extLst>
                <a:ext uri="{FF2B5EF4-FFF2-40B4-BE49-F238E27FC236}">
                  <a16:creationId xmlns:a16="http://schemas.microsoft.com/office/drawing/2014/main" id="{8BADE25B-937C-C687-FFFE-1FCE79DA581A}"/>
                </a:ext>
              </a:extLst>
            </p:cNvPr>
            <p:cNvGrpSpPr>
              <a:grpSpLocks/>
            </p:cNvGrpSpPr>
            <p:nvPr/>
          </p:nvGrpSpPr>
          <p:grpSpPr bwMode="auto">
            <a:xfrm>
              <a:off x="2414" y="1432"/>
              <a:ext cx="612" cy="408"/>
              <a:chOff x="3230" y="2168"/>
              <a:chExt cx="367" cy="245"/>
            </a:xfrm>
          </p:grpSpPr>
          <p:sp>
            <p:nvSpPr>
              <p:cNvPr id="21" name="Freeform 67">
                <a:extLst>
                  <a:ext uri="{FF2B5EF4-FFF2-40B4-BE49-F238E27FC236}">
                    <a16:creationId xmlns:a16="http://schemas.microsoft.com/office/drawing/2014/main" id="{87E1E110-FA56-841D-79AD-C9B634C05373}"/>
                  </a:ext>
                </a:extLst>
              </p:cNvPr>
              <p:cNvSpPr>
                <a:spLocks/>
              </p:cNvSpPr>
              <p:nvPr/>
            </p:nvSpPr>
            <p:spPr bwMode="gray">
              <a:xfrm>
                <a:off x="3230" y="2168"/>
                <a:ext cx="367" cy="245"/>
              </a:xfrm>
              <a:custGeom>
                <a:avLst/>
                <a:gdLst/>
                <a:ahLst/>
                <a:cxnLst>
                  <a:cxn ang="0">
                    <a:pos x="480" y="0"/>
                  </a:cxn>
                  <a:cxn ang="0">
                    <a:pos x="0" y="0"/>
                  </a:cxn>
                  <a:cxn ang="0">
                    <a:pos x="0" y="319"/>
                  </a:cxn>
                  <a:cxn ang="0">
                    <a:pos x="0" y="645"/>
                  </a:cxn>
                  <a:cxn ang="0">
                    <a:pos x="480" y="645"/>
                  </a:cxn>
                  <a:cxn ang="0">
                    <a:pos x="964" y="645"/>
                  </a:cxn>
                  <a:cxn ang="0">
                    <a:pos x="964" y="319"/>
                  </a:cxn>
                  <a:cxn ang="0">
                    <a:pos x="964" y="0"/>
                  </a:cxn>
                  <a:cxn ang="0">
                    <a:pos x="480" y="0"/>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635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CA"/>
              </a:p>
            </p:txBody>
          </p:sp>
          <p:sp>
            <p:nvSpPr>
              <p:cNvPr id="22" name="Freeform 68">
                <a:extLst>
                  <a:ext uri="{FF2B5EF4-FFF2-40B4-BE49-F238E27FC236}">
                    <a16:creationId xmlns:a16="http://schemas.microsoft.com/office/drawing/2014/main" id="{B7546359-4CDF-2024-EA16-EE0440ECD145}"/>
                  </a:ext>
                </a:extLst>
              </p:cNvPr>
              <p:cNvSpPr>
                <a:spLocks/>
              </p:cNvSpPr>
              <p:nvPr/>
            </p:nvSpPr>
            <p:spPr bwMode="gray">
              <a:xfrm>
                <a:off x="3241" y="2178"/>
                <a:ext cx="343" cy="117"/>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6350" cap="rnd">
                <a:noFill/>
                <a:miter lim="800000"/>
                <a:headEnd/>
                <a:tailEnd/>
              </a:ln>
            </p:spPr>
            <p:txBody>
              <a:bodyPr/>
              <a:lstStyle/>
              <a:p>
                <a:endParaRPr lang="en-CA"/>
              </a:p>
            </p:txBody>
          </p:sp>
        </p:grpSp>
        <p:sp>
          <p:nvSpPr>
            <p:cNvPr id="20" name="Text Box 69">
              <a:extLst>
                <a:ext uri="{FF2B5EF4-FFF2-40B4-BE49-F238E27FC236}">
                  <a16:creationId xmlns:a16="http://schemas.microsoft.com/office/drawing/2014/main" id="{EA81E28C-DF57-D868-9CF2-02F4A3C07E03}"/>
                </a:ext>
              </a:extLst>
            </p:cNvPr>
            <p:cNvSpPr txBox="1">
              <a:spLocks noChangeArrowheads="1"/>
            </p:cNvSpPr>
            <p:nvPr/>
          </p:nvSpPr>
          <p:spPr bwMode="gray">
            <a:xfrm>
              <a:off x="2476" y="1528"/>
              <a:ext cx="494" cy="223"/>
            </a:xfrm>
            <a:prstGeom prst="rect">
              <a:avLst/>
            </a:prstGeom>
            <a:noFill/>
            <a:ln w="9525">
              <a:noFill/>
              <a:miter lim="800000"/>
              <a:headEnd/>
              <a:tailEnd/>
            </a:ln>
          </p:spPr>
          <p:txBody>
            <a:bodyPr wrap="none" lIns="0" tIns="0" rIns="0" bIns="0" anchor="ctr"/>
            <a:lstStyle/>
            <a:p>
              <a:pPr lvl="0"/>
              <a:r>
                <a:rPr lang="en-CA" sz="1200"/>
                <a:t>Implementing the </a:t>
              </a:r>
            </a:p>
            <a:p>
              <a:pPr lvl="0"/>
              <a:r>
                <a:rPr lang="en-CA" sz="1200"/>
                <a:t>SEMS</a:t>
              </a:r>
            </a:p>
          </p:txBody>
        </p:sp>
      </p:grpSp>
      <p:cxnSp>
        <p:nvCxnSpPr>
          <p:cNvPr id="23" name="AutoShape 107">
            <a:extLst>
              <a:ext uri="{FF2B5EF4-FFF2-40B4-BE49-F238E27FC236}">
                <a16:creationId xmlns:a16="http://schemas.microsoft.com/office/drawing/2014/main" id="{78445E81-9FEB-824A-60C3-E6C1F8C2EC3C}"/>
              </a:ext>
            </a:extLst>
          </p:cNvPr>
          <p:cNvCxnSpPr>
            <a:cxnSpLocks noChangeShapeType="1"/>
          </p:cNvCxnSpPr>
          <p:nvPr/>
        </p:nvCxnSpPr>
        <p:spPr bwMode="gray">
          <a:xfrm>
            <a:off x="5805877" y="3573463"/>
            <a:ext cx="444500" cy="1588"/>
          </a:xfrm>
          <a:prstGeom prst="straightConnector1">
            <a:avLst/>
          </a:prstGeom>
          <a:noFill/>
          <a:ln w="9525">
            <a:solidFill>
              <a:schemeClr val="tx1"/>
            </a:solidFill>
            <a:round/>
            <a:headEnd/>
            <a:tailEnd type="triangle" w="med" len="med"/>
          </a:ln>
        </p:spPr>
      </p:cxnSp>
      <p:cxnSp>
        <p:nvCxnSpPr>
          <p:cNvPr id="24" name="AutoShape 107">
            <a:extLst>
              <a:ext uri="{FF2B5EF4-FFF2-40B4-BE49-F238E27FC236}">
                <a16:creationId xmlns:a16="http://schemas.microsoft.com/office/drawing/2014/main" id="{2B3205E3-F96F-95D9-AA97-02A2522657AF}"/>
              </a:ext>
            </a:extLst>
          </p:cNvPr>
          <p:cNvCxnSpPr>
            <a:cxnSpLocks noChangeShapeType="1"/>
          </p:cNvCxnSpPr>
          <p:nvPr/>
        </p:nvCxnSpPr>
        <p:spPr bwMode="gray">
          <a:xfrm>
            <a:off x="8028377" y="3573463"/>
            <a:ext cx="444500" cy="1588"/>
          </a:xfrm>
          <a:prstGeom prst="straightConnector1">
            <a:avLst/>
          </a:prstGeom>
          <a:noFill/>
          <a:ln w="9525">
            <a:solidFill>
              <a:schemeClr val="tx1"/>
            </a:solidFill>
            <a:round/>
            <a:headEnd/>
            <a:tailEnd type="triangle" w="med" len="med"/>
          </a:ln>
        </p:spPr>
      </p:cxnSp>
      <p:grpSp>
        <p:nvGrpSpPr>
          <p:cNvPr id="25" name="Group 117">
            <a:extLst>
              <a:ext uri="{FF2B5EF4-FFF2-40B4-BE49-F238E27FC236}">
                <a16:creationId xmlns:a16="http://schemas.microsoft.com/office/drawing/2014/main" id="{37D0B9E5-5FA6-6E38-D834-D61C5D955229}"/>
              </a:ext>
            </a:extLst>
          </p:cNvPr>
          <p:cNvGrpSpPr>
            <a:grpSpLocks/>
          </p:cNvGrpSpPr>
          <p:nvPr/>
        </p:nvGrpSpPr>
        <p:grpSpPr bwMode="auto">
          <a:xfrm>
            <a:off x="1860695" y="3004503"/>
            <a:ext cx="1828800" cy="1097280"/>
            <a:chOff x="1461" y="1432"/>
            <a:chExt cx="612" cy="408"/>
          </a:xfrm>
        </p:grpSpPr>
        <p:grpSp>
          <p:nvGrpSpPr>
            <p:cNvPr id="26" name="Group 61">
              <a:extLst>
                <a:ext uri="{FF2B5EF4-FFF2-40B4-BE49-F238E27FC236}">
                  <a16:creationId xmlns:a16="http://schemas.microsoft.com/office/drawing/2014/main" id="{48529C9A-4927-9986-4E75-33254DEF20F9}"/>
                </a:ext>
              </a:extLst>
            </p:cNvPr>
            <p:cNvGrpSpPr>
              <a:grpSpLocks/>
            </p:cNvGrpSpPr>
            <p:nvPr/>
          </p:nvGrpSpPr>
          <p:grpSpPr bwMode="auto">
            <a:xfrm>
              <a:off x="1461" y="1432"/>
              <a:ext cx="612" cy="408"/>
              <a:chOff x="3230" y="2168"/>
              <a:chExt cx="367" cy="245"/>
            </a:xfrm>
          </p:grpSpPr>
          <p:sp>
            <p:nvSpPr>
              <p:cNvPr id="28" name="Freeform 62">
                <a:extLst>
                  <a:ext uri="{FF2B5EF4-FFF2-40B4-BE49-F238E27FC236}">
                    <a16:creationId xmlns:a16="http://schemas.microsoft.com/office/drawing/2014/main" id="{D0F15156-017E-558E-46A2-8C2329ADF2AE}"/>
                  </a:ext>
                </a:extLst>
              </p:cNvPr>
              <p:cNvSpPr>
                <a:spLocks/>
              </p:cNvSpPr>
              <p:nvPr/>
            </p:nvSpPr>
            <p:spPr bwMode="gray">
              <a:xfrm>
                <a:off x="3230" y="2168"/>
                <a:ext cx="367" cy="245"/>
              </a:xfrm>
              <a:custGeom>
                <a:avLst/>
                <a:gdLst/>
                <a:ahLst/>
                <a:cxnLst>
                  <a:cxn ang="0">
                    <a:pos x="480" y="0"/>
                  </a:cxn>
                  <a:cxn ang="0">
                    <a:pos x="0" y="0"/>
                  </a:cxn>
                  <a:cxn ang="0">
                    <a:pos x="0" y="319"/>
                  </a:cxn>
                  <a:cxn ang="0">
                    <a:pos x="0" y="645"/>
                  </a:cxn>
                  <a:cxn ang="0">
                    <a:pos x="480" y="645"/>
                  </a:cxn>
                  <a:cxn ang="0">
                    <a:pos x="964" y="645"/>
                  </a:cxn>
                  <a:cxn ang="0">
                    <a:pos x="964" y="319"/>
                  </a:cxn>
                  <a:cxn ang="0">
                    <a:pos x="964" y="0"/>
                  </a:cxn>
                  <a:cxn ang="0">
                    <a:pos x="480" y="0"/>
                  </a:cxn>
                </a:cxnLst>
                <a:rect l="0" t="0" r="r" b="b"/>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solidFill>
                <a:srgbClr val="DDDDDD"/>
              </a:solidFill>
              <a:ln w="6350" cap="flat" cmpd="sng">
                <a:solidFill>
                  <a:srgbClr val="EAEAEA"/>
                </a:solidFill>
                <a:prstDash val="solid"/>
                <a:miter lim="800000"/>
                <a:headEnd type="none" w="med" len="med"/>
                <a:tailEnd type="none" w="med" len="med"/>
              </a:ln>
              <a:effectLst>
                <a:outerShdw dist="53882" dir="2700000" algn="ctr" rotWithShape="0">
                  <a:srgbClr val="808080">
                    <a:alpha val="50000"/>
                  </a:srgbClr>
                </a:outerShdw>
              </a:effectLst>
            </p:spPr>
            <p:txBody>
              <a:bodyPr lIns="288000" tIns="0" rIns="0" bIns="0" anchor="ctr"/>
              <a:lstStyle/>
              <a:p>
                <a:pPr>
                  <a:defRPr/>
                </a:pPr>
                <a:endParaRPr lang="en-CA"/>
              </a:p>
            </p:txBody>
          </p:sp>
          <p:sp>
            <p:nvSpPr>
              <p:cNvPr id="29" name="Freeform 63">
                <a:extLst>
                  <a:ext uri="{FF2B5EF4-FFF2-40B4-BE49-F238E27FC236}">
                    <a16:creationId xmlns:a16="http://schemas.microsoft.com/office/drawing/2014/main" id="{B9890D35-B1F8-1949-EABD-823F2CAEEBF2}"/>
                  </a:ext>
                </a:extLst>
              </p:cNvPr>
              <p:cNvSpPr>
                <a:spLocks/>
              </p:cNvSpPr>
              <p:nvPr/>
            </p:nvSpPr>
            <p:spPr bwMode="gray">
              <a:xfrm>
                <a:off x="3241" y="2178"/>
                <a:ext cx="343" cy="117"/>
              </a:xfrm>
              <a:custGeom>
                <a:avLst/>
                <a:gdLst>
                  <a:gd name="T0" fmla="*/ 480 w 964"/>
                  <a:gd name="T1" fmla="*/ 0 h 645"/>
                  <a:gd name="T2" fmla="*/ 0 w 964"/>
                  <a:gd name="T3" fmla="*/ 0 h 645"/>
                  <a:gd name="T4" fmla="*/ 0 w 964"/>
                  <a:gd name="T5" fmla="*/ 319 h 645"/>
                  <a:gd name="T6" fmla="*/ 0 w 964"/>
                  <a:gd name="T7" fmla="*/ 645 h 645"/>
                  <a:gd name="T8" fmla="*/ 480 w 964"/>
                  <a:gd name="T9" fmla="*/ 645 h 645"/>
                  <a:gd name="T10" fmla="*/ 964 w 964"/>
                  <a:gd name="T11" fmla="*/ 645 h 645"/>
                  <a:gd name="T12" fmla="*/ 964 w 964"/>
                  <a:gd name="T13" fmla="*/ 319 h 645"/>
                  <a:gd name="T14" fmla="*/ 964 w 964"/>
                  <a:gd name="T15" fmla="*/ 0 h 645"/>
                  <a:gd name="T16" fmla="*/ 480 w 964"/>
                  <a:gd name="T17" fmla="*/ 0 h 6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4"/>
                  <a:gd name="T28" fmla="*/ 0 h 645"/>
                  <a:gd name="T29" fmla="*/ 964 w 964"/>
                  <a:gd name="T30" fmla="*/ 645 h 6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4" h="645">
                    <a:moveTo>
                      <a:pt x="480" y="0"/>
                    </a:moveTo>
                    <a:lnTo>
                      <a:pt x="0" y="0"/>
                    </a:lnTo>
                    <a:lnTo>
                      <a:pt x="0" y="319"/>
                    </a:lnTo>
                    <a:lnTo>
                      <a:pt x="0" y="645"/>
                    </a:lnTo>
                    <a:lnTo>
                      <a:pt x="480" y="645"/>
                    </a:lnTo>
                    <a:lnTo>
                      <a:pt x="964" y="645"/>
                    </a:lnTo>
                    <a:lnTo>
                      <a:pt x="964" y="319"/>
                    </a:lnTo>
                    <a:lnTo>
                      <a:pt x="964" y="0"/>
                    </a:lnTo>
                    <a:lnTo>
                      <a:pt x="480" y="0"/>
                    </a:lnTo>
                    <a:close/>
                  </a:path>
                </a:pathLst>
              </a:custGeom>
              <a:gradFill rotWithShape="1">
                <a:gsLst>
                  <a:gs pos="0">
                    <a:srgbClr val="F1F1F1"/>
                  </a:gs>
                  <a:gs pos="100000">
                    <a:srgbClr val="DDDDDD"/>
                  </a:gs>
                </a:gsLst>
                <a:lin ang="5400000" scaled="1"/>
              </a:gradFill>
              <a:ln w="6350" cap="rnd">
                <a:noFill/>
                <a:miter lim="800000"/>
                <a:headEnd/>
                <a:tailEnd/>
              </a:ln>
            </p:spPr>
            <p:txBody>
              <a:bodyPr/>
              <a:lstStyle/>
              <a:p>
                <a:endParaRPr lang="en-CA"/>
              </a:p>
            </p:txBody>
          </p:sp>
        </p:grpSp>
        <p:sp>
          <p:nvSpPr>
            <p:cNvPr id="27" name="Text Box 64">
              <a:extLst>
                <a:ext uri="{FF2B5EF4-FFF2-40B4-BE49-F238E27FC236}">
                  <a16:creationId xmlns:a16="http://schemas.microsoft.com/office/drawing/2014/main" id="{F272BF83-0DB0-2BFE-5B11-29A66B538BF7}"/>
                </a:ext>
              </a:extLst>
            </p:cNvPr>
            <p:cNvSpPr txBox="1">
              <a:spLocks noChangeArrowheads="1"/>
            </p:cNvSpPr>
            <p:nvPr/>
          </p:nvSpPr>
          <p:spPr bwMode="gray">
            <a:xfrm>
              <a:off x="1523" y="1528"/>
              <a:ext cx="494" cy="223"/>
            </a:xfrm>
            <a:prstGeom prst="rect">
              <a:avLst/>
            </a:prstGeom>
            <a:noFill/>
            <a:ln w="9525">
              <a:noFill/>
              <a:miter lim="800000"/>
              <a:headEnd/>
              <a:tailEnd/>
            </a:ln>
          </p:spPr>
          <p:txBody>
            <a:bodyPr wrap="none" lIns="0" tIns="0" rIns="0" bIns="0" anchor="ctr"/>
            <a:lstStyle/>
            <a:p>
              <a:pPr lvl="0"/>
              <a:r>
                <a:rPr lang="en-CA" sz="1200" dirty="0"/>
                <a:t>Understanding</a:t>
              </a:r>
            </a:p>
            <a:p>
              <a:pPr lvl="0"/>
              <a:r>
                <a:rPr lang="en-CA" sz="1200" dirty="0"/>
                <a:t>the Organization </a:t>
              </a:r>
            </a:p>
            <a:p>
              <a:pPr lvl="0"/>
              <a:r>
                <a:rPr lang="en-CA" sz="1200" dirty="0"/>
                <a:t>and its Context</a:t>
              </a:r>
              <a:endParaRPr lang="en-US" sz="1200" dirty="0"/>
            </a:p>
          </p:txBody>
        </p:sp>
      </p:grpSp>
      <p:sp>
        <p:nvSpPr>
          <p:cNvPr id="2" name="Title 1">
            <a:extLst>
              <a:ext uri="{FF2B5EF4-FFF2-40B4-BE49-F238E27FC236}">
                <a16:creationId xmlns:a16="http://schemas.microsoft.com/office/drawing/2014/main" id="{1DE1F1F5-CCA5-B262-148A-899285723D99}"/>
              </a:ext>
            </a:extLst>
          </p:cNvPr>
          <p:cNvSpPr txBox="1">
            <a:spLocks/>
          </p:cNvSpPr>
          <p:nvPr>
            <p:custDataLst>
              <p:tags r:id="rId1"/>
            </p:custDataLst>
          </p:nvPr>
        </p:nvSpPr>
        <p:spPr>
          <a:xfrm>
            <a:off x="767049" y="1196950"/>
            <a:ext cx="10972800" cy="838200"/>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a:cs typeface="Arial" charset="0"/>
              </a:rPr>
              <a:t>Context</a:t>
            </a:r>
          </a:p>
        </p:txBody>
      </p:sp>
      <p:cxnSp>
        <p:nvCxnSpPr>
          <p:cNvPr id="17" name="AutoShape 107">
            <a:extLst>
              <a:ext uri="{FF2B5EF4-FFF2-40B4-BE49-F238E27FC236}">
                <a16:creationId xmlns:a16="http://schemas.microsoft.com/office/drawing/2014/main" id="{2B5FE90B-68C4-7A1B-4F69-8EF3E1CBFBE1}"/>
              </a:ext>
            </a:extLst>
          </p:cNvPr>
          <p:cNvCxnSpPr>
            <a:cxnSpLocks noChangeShapeType="1"/>
          </p:cNvCxnSpPr>
          <p:nvPr/>
        </p:nvCxnSpPr>
        <p:spPr bwMode="gray">
          <a:xfrm>
            <a:off x="3596077" y="3573463"/>
            <a:ext cx="444500" cy="1588"/>
          </a:xfrm>
          <a:prstGeom prst="straightConnector1">
            <a:avLst/>
          </a:prstGeom>
          <a:noFill/>
          <a:ln w="9525">
            <a:solidFill>
              <a:schemeClr val="tx1"/>
            </a:solidFill>
            <a:round/>
            <a:headEnd/>
            <a:tailEnd type="triangle" w="med" len="med"/>
          </a:ln>
        </p:spPr>
      </p:cxnSp>
    </p:spTree>
    <p:extLst>
      <p:ext uri="{BB962C8B-B14F-4D97-AF65-F5344CB8AC3E}">
        <p14:creationId xmlns:p14="http://schemas.microsoft.com/office/powerpoint/2010/main" val="3754917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8" fill="hold" nodeType="withEffect">
                                  <p:stCondLst>
                                    <p:cond delay="7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1000" fill="hold"/>
                                        <p:tgtEl>
                                          <p:spTgt spid="25"/>
                                        </p:tgtEl>
                                        <p:attrNameLst>
                                          <p:attrName>ppt_x</p:attrName>
                                        </p:attrNameLst>
                                      </p:cBhvr>
                                      <p:tavLst>
                                        <p:tav tm="0">
                                          <p:val>
                                            <p:strVal val="0-#ppt_w/2"/>
                                          </p:val>
                                        </p:tav>
                                        <p:tav tm="100000">
                                          <p:val>
                                            <p:strVal val="#ppt_x"/>
                                          </p:val>
                                        </p:tav>
                                      </p:tavLst>
                                    </p:anim>
                                    <p:anim calcmode="lin" valueType="num">
                                      <p:cBhvr additive="base">
                                        <p:cTn id="12" dur="10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75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1000" fill="hold"/>
                                        <p:tgtEl>
                                          <p:spTgt spid="17"/>
                                        </p:tgtEl>
                                        <p:attrNameLst>
                                          <p:attrName>ppt_x</p:attrName>
                                        </p:attrNameLst>
                                      </p:cBhvr>
                                      <p:tavLst>
                                        <p:tav tm="0">
                                          <p:val>
                                            <p:strVal val="0-#ppt_w/2"/>
                                          </p:val>
                                        </p:tav>
                                        <p:tav tm="100000">
                                          <p:val>
                                            <p:strVal val="#ppt_x"/>
                                          </p:val>
                                        </p:tav>
                                      </p:tavLst>
                                    </p:anim>
                                    <p:anim calcmode="lin" valueType="num">
                                      <p:cBhvr additive="base">
                                        <p:cTn id="16" dur="1000" fill="hold"/>
                                        <p:tgtEl>
                                          <p:spTgt spid="17"/>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75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0-#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750"/>
                                  </p:stCondLst>
                                  <p:childTnLst>
                                    <p:set>
                                      <p:cBhvr>
                                        <p:cTn id="22" dur="1" fill="hold">
                                          <p:stCondLst>
                                            <p:cond delay="0"/>
                                          </p:stCondLst>
                                        </p:cTn>
                                        <p:tgtEl>
                                          <p:spTgt spid="23"/>
                                        </p:tgtEl>
                                        <p:attrNameLst>
                                          <p:attrName>style.visibility</p:attrName>
                                        </p:attrNameLst>
                                      </p:cBhvr>
                                      <p:to>
                                        <p:strVal val="visible"/>
                                      </p:to>
                                    </p:set>
                                    <p:anim calcmode="lin" valueType="num">
                                      <p:cBhvr additive="base">
                                        <p:cTn id="23" dur="1000" fill="hold"/>
                                        <p:tgtEl>
                                          <p:spTgt spid="23"/>
                                        </p:tgtEl>
                                        <p:attrNameLst>
                                          <p:attrName>ppt_x</p:attrName>
                                        </p:attrNameLst>
                                      </p:cBhvr>
                                      <p:tavLst>
                                        <p:tav tm="0">
                                          <p:val>
                                            <p:strVal val="0-#ppt_w/2"/>
                                          </p:val>
                                        </p:tav>
                                        <p:tav tm="100000">
                                          <p:val>
                                            <p:strVal val="#ppt_x"/>
                                          </p:val>
                                        </p:tav>
                                      </p:tavLst>
                                    </p:anim>
                                    <p:anim calcmode="lin" valueType="num">
                                      <p:cBhvr additive="base">
                                        <p:cTn id="24" dur="1000" fill="hold"/>
                                        <p:tgtEl>
                                          <p:spTgt spid="23"/>
                                        </p:tgtEl>
                                        <p:attrNameLst>
                                          <p:attrName>ppt_y</p:attrName>
                                        </p:attrNameLst>
                                      </p:cBhvr>
                                      <p:tavLst>
                                        <p:tav tm="0">
                                          <p:val>
                                            <p:strVal val="#ppt_y"/>
                                          </p:val>
                                        </p:tav>
                                        <p:tav tm="100000">
                                          <p:val>
                                            <p:strVal val="#ppt_y"/>
                                          </p:val>
                                        </p:tav>
                                      </p:tavLst>
                                    </p:anim>
                                  </p:childTnLst>
                                </p:cTn>
                              </p:par>
                              <p:par>
                                <p:cTn id="25" presetID="2" presetClass="entr" presetSubtype="8" fill="hold" nodeType="withEffect">
                                  <p:stCondLst>
                                    <p:cond delay="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0-#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8" fill="hold" nodeType="withEffect">
                                  <p:stCondLst>
                                    <p:cond delay="750"/>
                                  </p:stCondLst>
                                  <p:childTnLst>
                                    <p:set>
                                      <p:cBhvr>
                                        <p:cTn id="30" dur="1" fill="hold">
                                          <p:stCondLst>
                                            <p:cond delay="0"/>
                                          </p:stCondLst>
                                        </p:cTn>
                                        <p:tgtEl>
                                          <p:spTgt spid="24"/>
                                        </p:tgtEl>
                                        <p:attrNameLst>
                                          <p:attrName>style.visibility</p:attrName>
                                        </p:attrNameLst>
                                      </p:cBhvr>
                                      <p:to>
                                        <p:strVal val="visible"/>
                                      </p:to>
                                    </p:set>
                                    <p:anim calcmode="lin" valueType="num">
                                      <p:cBhvr additive="base">
                                        <p:cTn id="31" dur="1000" fill="hold"/>
                                        <p:tgtEl>
                                          <p:spTgt spid="24"/>
                                        </p:tgtEl>
                                        <p:attrNameLst>
                                          <p:attrName>ppt_x</p:attrName>
                                        </p:attrNameLst>
                                      </p:cBhvr>
                                      <p:tavLst>
                                        <p:tav tm="0">
                                          <p:val>
                                            <p:strVal val="0-#ppt_w/2"/>
                                          </p:val>
                                        </p:tav>
                                        <p:tav tm="100000">
                                          <p:val>
                                            <p:strVal val="#ppt_x"/>
                                          </p:val>
                                        </p:tav>
                                      </p:tavLst>
                                    </p:anim>
                                    <p:anim calcmode="lin" valueType="num">
                                      <p:cBhvr additive="base">
                                        <p:cTn id="32" dur="1000" fill="hold"/>
                                        <p:tgtEl>
                                          <p:spTgt spid="24"/>
                                        </p:tgtEl>
                                        <p:attrNameLst>
                                          <p:attrName>ppt_y</p:attrName>
                                        </p:attrNameLst>
                                      </p:cBhvr>
                                      <p:tavLst>
                                        <p:tav tm="0">
                                          <p:val>
                                            <p:strVal val="#ppt_y"/>
                                          </p:val>
                                        </p:tav>
                                        <p:tav tm="100000">
                                          <p:val>
                                            <p:strVal val="#ppt_y"/>
                                          </p:val>
                                        </p:tav>
                                      </p:tavLst>
                                    </p:anim>
                                  </p:childTnLst>
                                </p:cTn>
                              </p:par>
                              <p:par>
                                <p:cTn id="33" presetID="2" presetClass="entr" presetSubtype="8" fill="hold" nodeType="withEffect">
                                  <p:stCondLst>
                                    <p:cond delay="75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1000" fill="hold"/>
                                        <p:tgtEl>
                                          <p:spTgt spid="18"/>
                                        </p:tgtEl>
                                        <p:attrNameLst>
                                          <p:attrName>ppt_x</p:attrName>
                                        </p:attrNameLst>
                                      </p:cBhvr>
                                      <p:tavLst>
                                        <p:tav tm="0">
                                          <p:val>
                                            <p:strVal val="0-#ppt_w/2"/>
                                          </p:val>
                                        </p:tav>
                                        <p:tav tm="100000">
                                          <p:val>
                                            <p:strVal val="#ppt_x"/>
                                          </p:val>
                                        </p:tav>
                                      </p:tavLst>
                                    </p:anim>
                                    <p:anim calcmode="lin" valueType="num">
                                      <p:cBhvr additive="base">
                                        <p:cTn id="36" dur="1000" fill="hold"/>
                                        <p:tgtEl>
                                          <p:spTgt spid="18"/>
                                        </p:tgtEl>
                                        <p:attrNameLst>
                                          <p:attrName>ppt_y</p:attrName>
                                        </p:attrNameLst>
                                      </p:cBhvr>
                                      <p:tavLst>
                                        <p:tav tm="0">
                                          <p:val>
                                            <p:strVal val="#ppt_y"/>
                                          </p:val>
                                        </p:tav>
                                        <p:tav tm="100000">
                                          <p:val>
                                            <p:strVal val="#ppt_y"/>
                                          </p:val>
                                        </p:tav>
                                      </p:tavLst>
                                    </p:anim>
                                  </p:childTnLst>
                                </p:cTn>
                              </p:par>
                              <p:par>
                                <p:cTn id="37" presetID="2" presetClass="entr" presetSubtype="8" fill="hold" nodeType="withEffect">
                                  <p:stCondLst>
                                    <p:cond delay="750"/>
                                  </p:stCondLst>
                                  <p:childTnLst>
                                    <p:set>
                                      <p:cBhvr>
                                        <p:cTn id="38" dur="1" fill="hold">
                                          <p:stCondLst>
                                            <p:cond delay="0"/>
                                          </p:stCondLst>
                                        </p:cTn>
                                        <p:tgtEl>
                                          <p:spTgt spid="3"/>
                                        </p:tgtEl>
                                        <p:attrNameLst>
                                          <p:attrName>style.visibility</p:attrName>
                                        </p:attrNameLst>
                                      </p:cBhvr>
                                      <p:to>
                                        <p:strVal val="visible"/>
                                      </p:to>
                                    </p:set>
                                    <p:anim calcmode="lin" valueType="num">
                                      <p:cBhvr additive="base">
                                        <p:cTn id="39" dur="1000" fill="hold"/>
                                        <p:tgtEl>
                                          <p:spTgt spid="3"/>
                                        </p:tgtEl>
                                        <p:attrNameLst>
                                          <p:attrName>ppt_x</p:attrName>
                                        </p:attrNameLst>
                                      </p:cBhvr>
                                      <p:tavLst>
                                        <p:tav tm="0">
                                          <p:val>
                                            <p:strVal val="0-#ppt_w/2"/>
                                          </p:val>
                                        </p:tav>
                                        <p:tav tm="100000">
                                          <p:val>
                                            <p:strVal val="#ppt_x"/>
                                          </p:val>
                                        </p:tav>
                                      </p:tavLst>
                                    </p:anim>
                                    <p:anim calcmode="lin" valueType="num">
                                      <p:cBhvr additive="base">
                                        <p:cTn id="40" dur="1000" fill="hold"/>
                                        <p:tgtEl>
                                          <p:spTgt spid="3"/>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750"/>
                                  </p:stCondLst>
                                  <p:childTnLst>
                                    <p:set>
                                      <p:cBhvr>
                                        <p:cTn id="42" dur="1" fill="hold">
                                          <p:stCondLst>
                                            <p:cond delay="0"/>
                                          </p:stCondLst>
                                        </p:cTn>
                                        <p:tgtEl>
                                          <p:spTgt spid="5"/>
                                        </p:tgtEl>
                                        <p:attrNameLst>
                                          <p:attrName>style.visibility</p:attrName>
                                        </p:attrNameLst>
                                      </p:cBhvr>
                                      <p:to>
                                        <p:strVal val="visible"/>
                                      </p:to>
                                    </p:set>
                                    <p:anim calcmode="lin" valueType="num">
                                      <p:cBhvr additive="base">
                                        <p:cTn id="43" dur="1000" fill="hold"/>
                                        <p:tgtEl>
                                          <p:spTgt spid="5"/>
                                        </p:tgtEl>
                                        <p:attrNameLst>
                                          <p:attrName>ppt_x</p:attrName>
                                        </p:attrNameLst>
                                      </p:cBhvr>
                                      <p:tavLst>
                                        <p:tav tm="0">
                                          <p:val>
                                            <p:strVal val="0-#ppt_w/2"/>
                                          </p:val>
                                        </p:tav>
                                        <p:tav tm="100000">
                                          <p:val>
                                            <p:strVal val="#ppt_x"/>
                                          </p:val>
                                        </p:tav>
                                      </p:tavLst>
                                    </p:anim>
                                    <p:anim calcmode="lin" valueType="num">
                                      <p:cBhvr additive="base">
                                        <p:cTn id="44" dur="1000" fill="hold"/>
                                        <p:tgtEl>
                                          <p:spTgt spid="5"/>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750"/>
                                  </p:stCondLst>
                                  <p:childTnLst>
                                    <p:set>
                                      <p:cBhvr>
                                        <p:cTn id="46" dur="1" fill="hold">
                                          <p:stCondLst>
                                            <p:cond delay="0"/>
                                          </p:stCondLst>
                                        </p:cTn>
                                        <p:tgtEl>
                                          <p:spTgt spid="6"/>
                                        </p:tgtEl>
                                        <p:attrNameLst>
                                          <p:attrName>style.visibility</p:attrName>
                                        </p:attrNameLst>
                                      </p:cBhvr>
                                      <p:to>
                                        <p:strVal val="visible"/>
                                      </p:to>
                                    </p:set>
                                    <p:anim calcmode="lin" valueType="num">
                                      <p:cBhvr additive="base">
                                        <p:cTn id="47" dur="1000" fill="hold"/>
                                        <p:tgtEl>
                                          <p:spTgt spid="6"/>
                                        </p:tgtEl>
                                        <p:attrNameLst>
                                          <p:attrName>ppt_x</p:attrName>
                                        </p:attrNameLst>
                                      </p:cBhvr>
                                      <p:tavLst>
                                        <p:tav tm="0">
                                          <p:val>
                                            <p:strVal val="0-#ppt_w/2"/>
                                          </p:val>
                                        </p:tav>
                                        <p:tav tm="100000">
                                          <p:val>
                                            <p:strVal val="#ppt_x"/>
                                          </p:val>
                                        </p:tav>
                                      </p:tavLst>
                                    </p:anim>
                                    <p:anim calcmode="lin" valueType="num">
                                      <p:cBhvr additive="base">
                                        <p:cTn id="48" dur="1000" fill="hold"/>
                                        <p:tgtEl>
                                          <p:spTgt spid="6"/>
                                        </p:tgtEl>
                                        <p:attrNameLst>
                                          <p:attrName>ppt_y</p:attrName>
                                        </p:attrNameLst>
                                      </p:cBhvr>
                                      <p:tavLst>
                                        <p:tav tm="0">
                                          <p:val>
                                            <p:strVal val="#ppt_y"/>
                                          </p:val>
                                        </p:tav>
                                        <p:tav tm="100000">
                                          <p:val>
                                            <p:strVal val="#ppt_y"/>
                                          </p:val>
                                        </p:tav>
                                      </p:tavLst>
                                    </p:anim>
                                  </p:childTnLst>
                                </p:cTn>
                              </p:par>
                              <p:par>
                                <p:cTn id="49" presetID="2" presetClass="entr" presetSubtype="8" fill="hold" nodeType="withEffect">
                                  <p:stCondLst>
                                    <p:cond delay="750"/>
                                  </p:stCondLst>
                                  <p:childTnLst>
                                    <p:set>
                                      <p:cBhvr>
                                        <p:cTn id="50" dur="1" fill="hold">
                                          <p:stCondLst>
                                            <p:cond delay="0"/>
                                          </p:stCondLst>
                                        </p:cTn>
                                        <p:tgtEl>
                                          <p:spTgt spid="4"/>
                                        </p:tgtEl>
                                        <p:attrNameLst>
                                          <p:attrName>style.visibility</p:attrName>
                                        </p:attrNameLst>
                                      </p:cBhvr>
                                      <p:to>
                                        <p:strVal val="visible"/>
                                      </p:to>
                                    </p:set>
                                    <p:anim calcmode="lin" valueType="num">
                                      <p:cBhvr additive="base">
                                        <p:cTn id="51" dur="1000" fill="hold"/>
                                        <p:tgtEl>
                                          <p:spTgt spid="4"/>
                                        </p:tgtEl>
                                        <p:attrNameLst>
                                          <p:attrName>ppt_x</p:attrName>
                                        </p:attrNameLst>
                                      </p:cBhvr>
                                      <p:tavLst>
                                        <p:tav tm="0">
                                          <p:val>
                                            <p:strVal val="0-#ppt_w/2"/>
                                          </p:val>
                                        </p:tav>
                                        <p:tav tm="100000">
                                          <p:val>
                                            <p:strVal val="#ppt_x"/>
                                          </p:val>
                                        </p:tav>
                                      </p:tavLst>
                                    </p:anim>
                                    <p:anim calcmode="lin" valueType="num">
                                      <p:cBhvr additive="base">
                                        <p:cTn id="52"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4">
            <a:extLst>
              <a:ext uri="{FF2B5EF4-FFF2-40B4-BE49-F238E27FC236}">
                <a16:creationId xmlns:a16="http://schemas.microsoft.com/office/drawing/2014/main" id="{1420F91F-1500-ED05-EADD-73B001D2465E}"/>
              </a:ext>
            </a:extLst>
          </p:cNvPr>
          <p:cNvSpPr>
            <a:spLocks noChangeArrowheads="1"/>
          </p:cNvSpPr>
          <p:nvPr/>
        </p:nvSpPr>
        <p:spPr bwMode="gray">
          <a:xfrm flipV="1">
            <a:off x="0" y="5771623"/>
            <a:ext cx="12192000" cy="1112448"/>
          </a:xfrm>
          <a:prstGeom prst="rect">
            <a:avLst/>
          </a:prstGeom>
          <a:gradFill rotWithShape="1">
            <a:gsLst>
              <a:gs pos="0">
                <a:srgbClr val="DBDBDB"/>
              </a:gs>
              <a:gs pos="100000">
                <a:srgbClr val="FFFFFF"/>
              </a:gs>
            </a:gsLst>
            <a:lin ang="5400000" scaled="1"/>
          </a:gradFill>
          <a:ln w="9525">
            <a:noFill/>
            <a:miter lim="800000"/>
            <a:headEnd/>
            <a:tailEnd/>
          </a:ln>
        </p:spPr>
        <p:txBody>
          <a:bodyPr rot="10800000" wrap="none" lIns="90000" tIns="90000" rIns="72000" bIns="90000" anchor="ctr"/>
          <a:lstStyle/>
          <a:p>
            <a:endParaRPr lang="fr-FR"/>
          </a:p>
        </p:txBody>
      </p:sp>
      <p:sp>
        <p:nvSpPr>
          <p:cNvPr id="5" name="Rectangle 20">
            <a:extLst>
              <a:ext uri="{FF2B5EF4-FFF2-40B4-BE49-F238E27FC236}">
                <a16:creationId xmlns:a16="http://schemas.microsoft.com/office/drawing/2014/main" id="{68F41247-C300-2913-046A-796E4DB88492}"/>
              </a:ext>
            </a:extLst>
          </p:cNvPr>
          <p:cNvSpPr>
            <a:spLocks noChangeArrowheads="1"/>
          </p:cNvSpPr>
          <p:nvPr/>
        </p:nvSpPr>
        <p:spPr bwMode="gray">
          <a:xfrm>
            <a:off x="1843088" y="3535916"/>
            <a:ext cx="4176712" cy="331789"/>
          </a:xfrm>
          <a:prstGeom prst="rect">
            <a:avLst/>
          </a:prstGeom>
          <a:solidFill>
            <a:schemeClr val="accent3">
              <a:lumMod val="75000"/>
            </a:schemeClr>
          </a:solidFill>
          <a:ln w="12700" algn="ctr">
            <a:solidFill>
              <a:srgbClr val="B2B2B2"/>
            </a:solidFill>
            <a:miter lim="800000"/>
            <a:headEnd/>
            <a:tailEnd/>
          </a:ln>
          <a:effectLst>
            <a:outerShdw dist="53882" dir="2700000" algn="ctr" rotWithShape="0">
              <a:srgbClr val="808080">
                <a:alpha val="50000"/>
              </a:srgbClr>
            </a:outerShdw>
          </a:effectLst>
        </p:spPr>
        <p:txBody>
          <a:bodyPr lIns="288000" tIns="0" rIns="0" bIns="0" anchor="ctr"/>
          <a:lstStyle/>
          <a:p>
            <a:pPr defTabSz="801688">
              <a:defRPr/>
            </a:pPr>
            <a:r>
              <a:rPr lang="en-US" sz="1400" b="1" kern="0" dirty="0">
                <a:solidFill>
                  <a:prstClr val="white"/>
                </a:solidFill>
              </a:rPr>
              <a:t>Make resources available</a:t>
            </a:r>
            <a:endParaRPr lang="en-US" sz="1400" b="1" kern="0" dirty="0">
              <a:solidFill>
                <a:prstClr val="white"/>
              </a:solidFill>
              <a:cs typeface="Arial" charset="0"/>
            </a:endParaRPr>
          </a:p>
        </p:txBody>
      </p:sp>
      <p:sp>
        <p:nvSpPr>
          <p:cNvPr id="6" name="Freeform 50">
            <a:extLst>
              <a:ext uri="{FF2B5EF4-FFF2-40B4-BE49-F238E27FC236}">
                <a16:creationId xmlns:a16="http://schemas.microsoft.com/office/drawing/2014/main" id="{7B34E317-C285-5240-F5D7-CF0A2C664AB1}"/>
              </a:ext>
            </a:extLst>
          </p:cNvPr>
          <p:cNvSpPr>
            <a:spLocks noEditPoints="1"/>
          </p:cNvSpPr>
          <p:nvPr/>
        </p:nvSpPr>
        <p:spPr bwMode="auto">
          <a:xfrm>
            <a:off x="7298924" y="5218201"/>
            <a:ext cx="3286869" cy="719580"/>
          </a:xfrm>
          <a:custGeom>
            <a:avLst/>
            <a:gdLst/>
            <a:ahLst/>
            <a:cxnLst>
              <a:cxn ang="0">
                <a:pos x="1453" y="21"/>
              </a:cxn>
              <a:cxn ang="0">
                <a:pos x="3252" y="293"/>
              </a:cxn>
              <a:cxn ang="0">
                <a:pos x="3251" y="290"/>
              </a:cxn>
              <a:cxn ang="0">
                <a:pos x="3245" y="275"/>
              </a:cxn>
              <a:cxn ang="0">
                <a:pos x="3119" y="242"/>
              </a:cxn>
              <a:cxn ang="0">
                <a:pos x="3087" y="219"/>
              </a:cxn>
              <a:cxn ang="0">
                <a:pos x="3107" y="231"/>
              </a:cxn>
              <a:cxn ang="0">
                <a:pos x="3121" y="244"/>
              </a:cxn>
              <a:cxn ang="0">
                <a:pos x="3128" y="252"/>
              </a:cxn>
              <a:cxn ang="0">
                <a:pos x="3132" y="264"/>
              </a:cxn>
              <a:cxn ang="0">
                <a:pos x="3131" y="276"/>
              </a:cxn>
              <a:cxn ang="0">
                <a:pos x="3127" y="284"/>
              </a:cxn>
              <a:cxn ang="0">
                <a:pos x="3116" y="295"/>
              </a:cxn>
              <a:cxn ang="0">
                <a:pos x="3103" y="303"/>
              </a:cxn>
              <a:cxn ang="0">
                <a:pos x="3091" y="310"/>
              </a:cxn>
              <a:cxn ang="0">
                <a:pos x="3233" y="262"/>
              </a:cxn>
              <a:cxn ang="0">
                <a:pos x="3221" y="252"/>
              </a:cxn>
              <a:cxn ang="0">
                <a:pos x="3208" y="244"/>
              </a:cxn>
              <a:cxn ang="0">
                <a:pos x="3180" y="230"/>
              </a:cxn>
              <a:cxn ang="0">
                <a:pos x="3153" y="218"/>
              </a:cxn>
              <a:cxn ang="0">
                <a:pos x="3109" y="202"/>
              </a:cxn>
              <a:cxn ang="0">
                <a:pos x="3064" y="189"/>
              </a:cxn>
              <a:cxn ang="0">
                <a:pos x="3020" y="177"/>
              </a:cxn>
              <a:cxn ang="0">
                <a:pos x="2989" y="169"/>
              </a:cxn>
              <a:cxn ang="0">
                <a:pos x="2932" y="156"/>
              </a:cxn>
              <a:cxn ang="0">
                <a:pos x="2855" y="140"/>
              </a:cxn>
              <a:cxn ang="0">
                <a:pos x="2818" y="134"/>
              </a:cxn>
              <a:cxn ang="0">
                <a:pos x="2749" y="122"/>
              </a:cxn>
              <a:cxn ang="0">
                <a:pos x="2747" y="124"/>
              </a:cxn>
              <a:cxn ang="0">
                <a:pos x="2781" y="130"/>
              </a:cxn>
              <a:cxn ang="0">
                <a:pos x="2834" y="141"/>
              </a:cxn>
              <a:cxn ang="0">
                <a:pos x="2894" y="154"/>
              </a:cxn>
              <a:cxn ang="0">
                <a:pos x="2921" y="161"/>
              </a:cxn>
              <a:cxn ang="0">
                <a:pos x="2964" y="173"/>
              </a:cxn>
              <a:cxn ang="0">
                <a:pos x="3018" y="190"/>
              </a:cxn>
              <a:cxn ang="0">
                <a:pos x="3081" y="216"/>
              </a:cxn>
              <a:cxn ang="0">
                <a:pos x="3055" y="204"/>
              </a:cxn>
              <a:cxn ang="0">
                <a:pos x="3032" y="195"/>
              </a:cxn>
              <a:cxn ang="0">
                <a:pos x="597" y="69"/>
              </a:cxn>
              <a:cxn ang="0">
                <a:pos x="638" y="93"/>
              </a:cxn>
              <a:cxn ang="0">
                <a:pos x="679" y="81"/>
              </a:cxn>
              <a:cxn ang="0">
                <a:pos x="735" y="68"/>
              </a:cxn>
              <a:cxn ang="0">
                <a:pos x="788" y="59"/>
              </a:cxn>
              <a:cxn ang="0">
                <a:pos x="861" y="49"/>
              </a:cxn>
              <a:cxn ang="0">
                <a:pos x="915" y="43"/>
              </a:cxn>
              <a:cxn ang="0">
                <a:pos x="1016" y="34"/>
              </a:cxn>
              <a:cxn ang="0">
                <a:pos x="1104" y="29"/>
              </a:cxn>
              <a:cxn ang="0">
                <a:pos x="1179" y="26"/>
              </a:cxn>
              <a:cxn ang="0">
                <a:pos x="1299" y="23"/>
              </a:cxn>
              <a:cxn ang="0">
                <a:pos x="1398" y="21"/>
              </a:cxn>
              <a:cxn ang="0">
                <a:pos x="623" y="64"/>
              </a:cxn>
              <a:cxn ang="0">
                <a:pos x="805" y="42"/>
              </a:cxn>
              <a:cxn ang="0">
                <a:pos x="547" y="79"/>
              </a:cxn>
              <a:cxn ang="0">
                <a:pos x="505" y="90"/>
              </a:cxn>
              <a:cxn ang="0">
                <a:pos x="3211" y="338"/>
              </a:cxn>
              <a:cxn ang="0">
                <a:pos x="3226" y="329"/>
              </a:cxn>
              <a:cxn ang="0">
                <a:pos x="3236" y="322"/>
              </a:cxn>
              <a:cxn ang="0">
                <a:pos x="3251" y="301"/>
              </a:cxn>
              <a:cxn ang="0">
                <a:pos x="3245" y="312"/>
              </a:cxn>
            </a:cxnLst>
            <a:rect l="0" t="0" r="r" b="b"/>
            <a:pathLst>
              <a:path w="3522" h="504">
                <a:moveTo>
                  <a:pt x="2692" y="113"/>
                </a:moveTo>
                <a:cubicBezTo>
                  <a:pt x="2692" y="113"/>
                  <a:pt x="2692" y="113"/>
                  <a:pt x="2692" y="113"/>
                </a:cubicBezTo>
                <a:cubicBezTo>
                  <a:pt x="2646" y="106"/>
                  <a:pt x="2598" y="99"/>
                  <a:pt x="2548" y="93"/>
                </a:cubicBezTo>
                <a:cubicBezTo>
                  <a:pt x="2593" y="99"/>
                  <a:pt x="2636" y="105"/>
                  <a:pt x="2677" y="112"/>
                </a:cubicBezTo>
                <a:cubicBezTo>
                  <a:pt x="2970" y="165"/>
                  <a:pt x="3098" y="232"/>
                  <a:pt x="2973" y="286"/>
                </a:cubicBezTo>
                <a:cubicBezTo>
                  <a:pt x="2792" y="363"/>
                  <a:pt x="2153" y="382"/>
                  <a:pt x="1544" y="330"/>
                </a:cubicBezTo>
                <a:cubicBezTo>
                  <a:pt x="936" y="277"/>
                  <a:pt x="590" y="172"/>
                  <a:pt x="770" y="95"/>
                </a:cubicBezTo>
                <a:cubicBezTo>
                  <a:pt x="875" y="50"/>
                  <a:pt x="1135" y="24"/>
                  <a:pt x="1453" y="21"/>
                </a:cubicBezTo>
                <a:cubicBezTo>
                  <a:pt x="1491" y="22"/>
                  <a:pt x="1529" y="22"/>
                  <a:pt x="1569" y="23"/>
                </a:cubicBezTo>
                <a:cubicBezTo>
                  <a:pt x="1311" y="17"/>
                  <a:pt x="1072" y="21"/>
                  <a:pt x="877" y="36"/>
                </a:cubicBezTo>
                <a:cubicBezTo>
                  <a:pt x="1093" y="20"/>
                  <a:pt x="1365" y="16"/>
                  <a:pt x="1655" y="25"/>
                </a:cubicBezTo>
                <a:cubicBezTo>
                  <a:pt x="1005" y="0"/>
                  <a:pt x="426" y="31"/>
                  <a:pt x="240" y="111"/>
                </a:cubicBezTo>
                <a:cubicBezTo>
                  <a:pt x="0" y="213"/>
                  <a:pt x="498" y="355"/>
                  <a:pt x="1352" y="430"/>
                </a:cubicBezTo>
                <a:cubicBezTo>
                  <a:pt x="2205" y="504"/>
                  <a:pt x="3091" y="481"/>
                  <a:pt x="3331" y="379"/>
                </a:cubicBezTo>
                <a:cubicBezTo>
                  <a:pt x="3522" y="298"/>
                  <a:pt x="3244" y="190"/>
                  <a:pt x="2692" y="113"/>
                </a:cubicBezTo>
                <a:close/>
                <a:moveTo>
                  <a:pt x="3252" y="293"/>
                </a:moveTo>
                <a:cubicBezTo>
                  <a:pt x="3252" y="293"/>
                  <a:pt x="3252" y="292"/>
                  <a:pt x="3252" y="291"/>
                </a:cubicBezTo>
                <a:cubicBezTo>
                  <a:pt x="3252" y="292"/>
                  <a:pt x="3252" y="293"/>
                  <a:pt x="3252" y="293"/>
                </a:cubicBezTo>
                <a:close/>
                <a:moveTo>
                  <a:pt x="3241" y="270"/>
                </a:moveTo>
                <a:cubicBezTo>
                  <a:pt x="3240" y="269"/>
                  <a:pt x="3239" y="267"/>
                  <a:pt x="3238" y="266"/>
                </a:cubicBezTo>
                <a:cubicBezTo>
                  <a:pt x="3239" y="267"/>
                  <a:pt x="3240" y="269"/>
                  <a:pt x="3241" y="270"/>
                </a:cubicBezTo>
                <a:close/>
                <a:moveTo>
                  <a:pt x="3251" y="290"/>
                </a:moveTo>
                <a:cubicBezTo>
                  <a:pt x="3251" y="289"/>
                  <a:pt x="3251" y="288"/>
                  <a:pt x="3251" y="287"/>
                </a:cubicBezTo>
                <a:cubicBezTo>
                  <a:pt x="3251" y="288"/>
                  <a:pt x="3251" y="289"/>
                  <a:pt x="3251" y="290"/>
                </a:cubicBezTo>
                <a:close/>
                <a:moveTo>
                  <a:pt x="3250" y="286"/>
                </a:moveTo>
                <a:cubicBezTo>
                  <a:pt x="3250" y="285"/>
                  <a:pt x="3250" y="284"/>
                  <a:pt x="3250" y="283"/>
                </a:cubicBezTo>
                <a:cubicBezTo>
                  <a:pt x="3250" y="284"/>
                  <a:pt x="3250" y="285"/>
                  <a:pt x="3250" y="286"/>
                </a:cubicBezTo>
                <a:close/>
                <a:moveTo>
                  <a:pt x="3249" y="282"/>
                </a:moveTo>
                <a:cubicBezTo>
                  <a:pt x="3249" y="281"/>
                  <a:pt x="3248" y="280"/>
                  <a:pt x="3248" y="280"/>
                </a:cubicBezTo>
                <a:cubicBezTo>
                  <a:pt x="3248" y="280"/>
                  <a:pt x="3249" y="281"/>
                  <a:pt x="3249" y="282"/>
                </a:cubicBezTo>
                <a:close/>
                <a:moveTo>
                  <a:pt x="3247" y="278"/>
                </a:moveTo>
                <a:cubicBezTo>
                  <a:pt x="3246" y="277"/>
                  <a:pt x="3246" y="276"/>
                  <a:pt x="3245" y="275"/>
                </a:cubicBezTo>
                <a:cubicBezTo>
                  <a:pt x="3246" y="276"/>
                  <a:pt x="3246" y="277"/>
                  <a:pt x="3247" y="278"/>
                </a:cubicBezTo>
                <a:close/>
                <a:moveTo>
                  <a:pt x="3244" y="274"/>
                </a:moveTo>
                <a:cubicBezTo>
                  <a:pt x="3244" y="273"/>
                  <a:pt x="3243" y="272"/>
                  <a:pt x="3242" y="271"/>
                </a:cubicBezTo>
                <a:cubicBezTo>
                  <a:pt x="3243" y="272"/>
                  <a:pt x="3244" y="273"/>
                  <a:pt x="3244" y="274"/>
                </a:cubicBezTo>
                <a:close/>
                <a:moveTo>
                  <a:pt x="3133" y="267"/>
                </a:moveTo>
                <a:cubicBezTo>
                  <a:pt x="3133" y="267"/>
                  <a:pt x="3133" y="266"/>
                  <a:pt x="3132" y="266"/>
                </a:cubicBezTo>
                <a:cubicBezTo>
                  <a:pt x="3133" y="266"/>
                  <a:pt x="3133" y="267"/>
                  <a:pt x="3133" y="267"/>
                </a:cubicBezTo>
                <a:close/>
                <a:moveTo>
                  <a:pt x="3119" y="242"/>
                </a:moveTo>
                <a:cubicBezTo>
                  <a:pt x="3119" y="241"/>
                  <a:pt x="3118" y="241"/>
                  <a:pt x="3118" y="240"/>
                </a:cubicBezTo>
                <a:cubicBezTo>
                  <a:pt x="3118" y="241"/>
                  <a:pt x="3119" y="241"/>
                  <a:pt x="3119" y="242"/>
                </a:cubicBezTo>
                <a:close/>
                <a:moveTo>
                  <a:pt x="3115" y="204"/>
                </a:moveTo>
                <a:cubicBezTo>
                  <a:pt x="3117" y="205"/>
                  <a:pt x="3118" y="206"/>
                  <a:pt x="3120" y="206"/>
                </a:cubicBezTo>
                <a:cubicBezTo>
                  <a:pt x="3118" y="206"/>
                  <a:pt x="3117" y="205"/>
                  <a:pt x="3115" y="204"/>
                </a:cubicBezTo>
                <a:close/>
                <a:moveTo>
                  <a:pt x="3087" y="219"/>
                </a:moveTo>
                <a:cubicBezTo>
                  <a:pt x="3088" y="220"/>
                  <a:pt x="3089" y="220"/>
                  <a:pt x="3090" y="221"/>
                </a:cubicBezTo>
                <a:cubicBezTo>
                  <a:pt x="3089" y="220"/>
                  <a:pt x="3088" y="220"/>
                  <a:pt x="3087" y="219"/>
                </a:cubicBezTo>
                <a:close/>
                <a:moveTo>
                  <a:pt x="3093" y="223"/>
                </a:moveTo>
                <a:cubicBezTo>
                  <a:pt x="3094" y="223"/>
                  <a:pt x="3095" y="224"/>
                  <a:pt x="3096" y="224"/>
                </a:cubicBezTo>
                <a:cubicBezTo>
                  <a:pt x="3095" y="224"/>
                  <a:pt x="3094" y="223"/>
                  <a:pt x="3093" y="223"/>
                </a:cubicBezTo>
                <a:close/>
                <a:moveTo>
                  <a:pt x="3099" y="226"/>
                </a:moveTo>
                <a:cubicBezTo>
                  <a:pt x="3100" y="227"/>
                  <a:pt x="3101" y="227"/>
                  <a:pt x="3101" y="228"/>
                </a:cubicBezTo>
                <a:cubicBezTo>
                  <a:pt x="3101" y="227"/>
                  <a:pt x="3100" y="227"/>
                  <a:pt x="3099" y="226"/>
                </a:cubicBezTo>
                <a:close/>
                <a:moveTo>
                  <a:pt x="3104" y="230"/>
                </a:moveTo>
                <a:cubicBezTo>
                  <a:pt x="3105" y="230"/>
                  <a:pt x="3106" y="231"/>
                  <a:pt x="3107" y="231"/>
                </a:cubicBezTo>
                <a:cubicBezTo>
                  <a:pt x="3106" y="231"/>
                  <a:pt x="3105" y="230"/>
                  <a:pt x="3104" y="230"/>
                </a:cubicBezTo>
                <a:close/>
                <a:moveTo>
                  <a:pt x="3109" y="233"/>
                </a:moveTo>
                <a:cubicBezTo>
                  <a:pt x="3110" y="234"/>
                  <a:pt x="3111" y="234"/>
                  <a:pt x="3111" y="235"/>
                </a:cubicBezTo>
                <a:cubicBezTo>
                  <a:pt x="3111" y="234"/>
                  <a:pt x="3110" y="234"/>
                  <a:pt x="3109" y="233"/>
                </a:cubicBezTo>
                <a:close/>
                <a:moveTo>
                  <a:pt x="3114" y="237"/>
                </a:moveTo>
                <a:cubicBezTo>
                  <a:pt x="3114" y="237"/>
                  <a:pt x="3115" y="238"/>
                  <a:pt x="3115" y="238"/>
                </a:cubicBezTo>
                <a:cubicBezTo>
                  <a:pt x="3115" y="238"/>
                  <a:pt x="3114" y="237"/>
                  <a:pt x="3114" y="237"/>
                </a:cubicBezTo>
                <a:close/>
                <a:moveTo>
                  <a:pt x="3121" y="244"/>
                </a:moveTo>
                <a:cubicBezTo>
                  <a:pt x="3122" y="244"/>
                  <a:pt x="3122" y="245"/>
                  <a:pt x="3122" y="245"/>
                </a:cubicBezTo>
                <a:cubicBezTo>
                  <a:pt x="3122" y="245"/>
                  <a:pt x="3122" y="244"/>
                  <a:pt x="3121" y="244"/>
                </a:cubicBezTo>
                <a:close/>
                <a:moveTo>
                  <a:pt x="3124" y="247"/>
                </a:moveTo>
                <a:cubicBezTo>
                  <a:pt x="3125" y="248"/>
                  <a:pt x="3125" y="248"/>
                  <a:pt x="3125" y="248"/>
                </a:cubicBezTo>
                <a:cubicBezTo>
                  <a:pt x="3125" y="248"/>
                  <a:pt x="3125" y="248"/>
                  <a:pt x="3124" y="247"/>
                </a:cubicBezTo>
                <a:close/>
                <a:moveTo>
                  <a:pt x="3128" y="252"/>
                </a:moveTo>
                <a:cubicBezTo>
                  <a:pt x="3128" y="252"/>
                  <a:pt x="3128" y="253"/>
                  <a:pt x="3128" y="253"/>
                </a:cubicBezTo>
                <a:cubicBezTo>
                  <a:pt x="3128" y="253"/>
                  <a:pt x="3128" y="252"/>
                  <a:pt x="3128" y="252"/>
                </a:cubicBezTo>
                <a:close/>
                <a:moveTo>
                  <a:pt x="3130" y="255"/>
                </a:moveTo>
                <a:cubicBezTo>
                  <a:pt x="3130" y="256"/>
                  <a:pt x="3130" y="256"/>
                  <a:pt x="3130" y="257"/>
                </a:cubicBezTo>
                <a:cubicBezTo>
                  <a:pt x="3130" y="256"/>
                  <a:pt x="3130" y="256"/>
                  <a:pt x="3130" y="255"/>
                </a:cubicBezTo>
                <a:close/>
                <a:moveTo>
                  <a:pt x="3131" y="259"/>
                </a:moveTo>
                <a:cubicBezTo>
                  <a:pt x="3131" y="259"/>
                  <a:pt x="3131" y="260"/>
                  <a:pt x="3131" y="260"/>
                </a:cubicBezTo>
                <a:cubicBezTo>
                  <a:pt x="3131" y="260"/>
                  <a:pt x="3131" y="259"/>
                  <a:pt x="3131" y="259"/>
                </a:cubicBezTo>
                <a:close/>
                <a:moveTo>
                  <a:pt x="3132" y="262"/>
                </a:moveTo>
                <a:cubicBezTo>
                  <a:pt x="3132" y="263"/>
                  <a:pt x="3132" y="263"/>
                  <a:pt x="3132" y="264"/>
                </a:cubicBezTo>
                <a:cubicBezTo>
                  <a:pt x="3132" y="263"/>
                  <a:pt x="3132" y="263"/>
                  <a:pt x="3132" y="262"/>
                </a:cubicBezTo>
                <a:close/>
                <a:moveTo>
                  <a:pt x="3132" y="269"/>
                </a:moveTo>
                <a:cubicBezTo>
                  <a:pt x="3132" y="269"/>
                  <a:pt x="3132" y="270"/>
                  <a:pt x="3132" y="270"/>
                </a:cubicBezTo>
                <a:cubicBezTo>
                  <a:pt x="3132" y="270"/>
                  <a:pt x="3132" y="269"/>
                  <a:pt x="3132" y="269"/>
                </a:cubicBezTo>
                <a:close/>
                <a:moveTo>
                  <a:pt x="3132" y="272"/>
                </a:moveTo>
                <a:cubicBezTo>
                  <a:pt x="3132" y="273"/>
                  <a:pt x="3132" y="273"/>
                  <a:pt x="3132" y="274"/>
                </a:cubicBezTo>
                <a:cubicBezTo>
                  <a:pt x="3132" y="273"/>
                  <a:pt x="3132" y="273"/>
                  <a:pt x="3132" y="272"/>
                </a:cubicBezTo>
                <a:close/>
                <a:moveTo>
                  <a:pt x="3131" y="276"/>
                </a:moveTo>
                <a:cubicBezTo>
                  <a:pt x="3131" y="276"/>
                  <a:pt x="3131" y="277"/>
                  <a:pt x="3131" y="277"/>
                </a:cubicBezTo>
                <a:cubicBezTo>
                  <a:pt x="3131" y="277"/>
                  <a:pt x="3131" y="276"/>
                  <a:pt x="3131" y="276"/>
                </a:cubicBezTo>
                <a:close/>
                <a:moveTo>
                  <a:pt x="3129" y="279"/>
                </a:moveTo>
                <a:cubicBezTo>
                  <a:pt x="3129" y="280"/>
                  <a:pt x="3129" y="280"/>
                  <a:pt x="3129" y="280"/>
                </a:cubicBezTo>
                <a:cubicBezTo>
                  <a:pt x="3129" y="280"/>
                  <a:pt x="3129" y="280"/>
                  <a:pt x="3129" y="279"/>
                </a:cubicBezTo>
                <a:close/>
                <a:moveTo>
                  <a:pt x="3127" y="284"/>
                </a:moveTo>
                <a:cubicBezTo>
                  <a:pt x="3127" y="284"/>
                  <a:pt x="3127" y="284"/>
                  <a:pt x="3126" y="284"/>
                </a:cubicBezTo>
                <a:cubicBezTo>
                  <a:pt x="3127" y="284"/>
                  <a:pt x="3127" y="284"/>
                  <a:pt x="3127" y="284"/>
                </a:cubicBezTo>
                <a:close/>
                <a:moveTo>
                  <a:pt x="3124" y="287"/>
                </a:moveTo>
                <a:cubicBezTo>
                  <a:pt x="3124" y="287"/>
                  <a:pt x="3123" y="288"/>
                  <a:pt x="3123" y="288"/>
                </a:cubicBezTo>
                <a:cubicBezTo>
                  <a:pt x="3123" y="288"/>
                  <a:pt x="3124" y="287"/>
                  <a:pt x="3124" y="287"/>
                </a:cubicBezTo>
                <a:close/>
                <a:moveTo>
                  <a:pt x="3121" y="290"/>
                </a:moveTo>
                <a:cubicBezTo>
                  <a:pt x="3121" y="291"/>
                  <a:pt x="3120" y="291"/>
                  <a:pt x="3120" y="292"/>
                </a:cubicBezTo>
                <a:cubicBezTo>
                  <a:pt x="3120" y="291"/>
                  <a:pt x="3121" y="291"/>
                  <a:pt x="3121" y="290"/>
                </a:cubicBezTo>
                <a:close/>
                <a:moveTo>
                  <a:pt x="3117" y="293"/>
                </a:moveTo>
                <a:cubicBezTo>
                  <a:pt x="3117" y="294"/>
                  <a:pt x="3116" y="294"/>
                  <a:pt x="3116" y="295"/>
                </a:cubicBezTo>
                <a:cubicBezTo>
                  <a:pt x="3116" y="294"/>
                  <a:pt x="3117" y="294"/>
                  <a:pt x="3117" y="293"/>
                </a:cubicBezTo>
                <a:close/>
                <a:moveTo>
                  <a:pt x="3113" y="297"/>
                </a:moveTo>
                <a:cubicBezTo>
                  <a:pt x="3113" y="297"/>
                  <a:pt x="3112" y="298"/>
                  <a:pt x="3111" y="298"/>
                </a:cubicBezTo>
                <a:cubicBezTo>
                  <a:pt x="3112" y="298"/>
                  <a:pt x="3113" y="297"/>
                  <a:pt x="3113" y="297"/>
                </a:cubicBezTo>
                <a:close/>
                <a:moveTo>
                  <a:pt x="3109" y="300"/>
                </a:moveTo>
                <a:cubicBezTo>
                  <a:pt x="3108" y="300"/>
                  <a:pt x="3107" y="301"/>
                  <a:pt x="3106" y="301"/>
                </a:cubicBezTo>
                <a:cubicBezTo>
                  <a:pt x="3107" y="301"/>
                  <a:pt x="3108" y="300"/>
                  <a:pt x="3109" y="300"/>
                </a:cubicBezTo>
                <a:close/>
                <a:moveTo>
                  <a:pt x="3103" y="303"/>
                </a:moveTo>
                <a:cubicBezTo>
                  <a:pt x="3103" y="304"/>
                  <a:pt x="3102" y="304"/>
                  <a:pt x="3101" y="304"/>
                </a:cubicBezTo>
                <a:cubicBezTo>
                  <a:pt x="3102" y="304"/>
                  <a:pt x="3103" y="304"/>
                  <a:pt x="3103" y="303"/>
                </a:cubicBezTo>
                <a:close/>
                <a:moveTo>
                  <a:pt x="3097" y="306"/>
                </a:moveTo>
                <a:cubicBezTo>
                  <a:pt x="3097" y="307"/>
                  <a:pt x="3096" y="307"/>
                  <a:pt x="3095" y="308"/>
                </a:cubicBezTo>
                <a:cubicBezTo>
                  <a:pt x="3096" y="307"/>
                  <a:pt x="3097" y="307"/>
                  <a:pt x="3097" y="306"/>
                </a:cubicBezTo>
                <a:close/>
                <a:moveTo>
                  <a:pt x="3091" y="310"/>
                </a:moveTo>
                <a:cubicBezTo>
                  <a:pt x="3090" y="310"/>
                  <a:pt x="3090" y="310"/>
                  <a:pt x="3089" y="311"/>
                </a:cubicBezTo>
                <a:cubicBezTo>
                  <a:pt x="3090" y="310"/>
                  <a:pt x="3090" y="310"/>
                  <a:pt x="3091" y="310"/>
                </a:cubicBezTo>
                <a:close/>
                <a:moveTo>
                  <a:pt x="3126" y="208"/>
                </a:moveTo>
                <a:cubicBezTo>
                  <a:pt x="3128" y="209"/>
                  <a:pt x="3130" y="210"/>
                  <a:pt x="3132" y="210"/>
                </a:cubicBezTo>
                <a:cubicBezTo>
                  <a:pt x="3130" y="210"/>
                  <a:pt x="3128" y="209"/>
                  <a:pt x="3126" y="208"/>
                </a:cubicBezTo>
                <a:close/>
                <a:moveTo>
                  <a:pt x="2714" y="116"/>
                </a:moveTo>
                <a:cubicBezTo>
                  <a:pt x="2712" y="116"/>
                  <a:pt x="2710" y="116"/>
                  <a:pt x="2708" y="115"/>
                </a:cubicBezTo>
                <a:cubicBezTo>
                  <a:pt x="2710" y="116"/>
                  <a:pt x="2712" y="116"/>
                  <a:pt x="2714" y="116"/>
                </a:cubicBezTo>
                <a:close/>
                <a:moveTo>
                  <a:pt x="3236" y="265"/>
                </a:moveTo>
                <a:cubicBezTo>
                  <a:pt x="3235" y="264"/>
                  <a:pt x="3234" y="263"/>
                  <a:pt x="3233" y="262"/>
                </a:cubicBezTo>
                <a:cubicBezTo>
                  <a:pt x="3234" y="263"/>
                  <a:pt x="3235" y="264"/>
                  <a:pt x="3236" y="265"/>
                </a:cubicBezTo>
                <a:close/>
                <a:moveTo>
                  <a:pt x="3231" y="260"/>
                </a:moveTo>
                <a:cubicBezTo>
                  <a:pt x="3231" y="260"/>
                  <a:pt x="3230" y="259"/>
                  <a:pt x="3229" y="258"/>
                </a:cubicBezTo>
                <a:cubicBezTo>
                  <a:pt x="3230" y="259"/>
                  <a:pt x="3231" y="260"/>
                  <a:pt x="3231" y="260"/>
                </a:cubicBezTo>
                <a:close/>
                <a:moveTo>
                  <a:pt x="3226" y="256"/>
                </a:moveTo>
                <a:cubicBezTo>
                  <a:pt x="3225" y="255"/>
                  <a:pt x="3224" y="255"/>
                  <a:pt x="3223" y="254"/>
                </a:cubicBezTo>
                <a:cubicBezTo>
                  <a:pt x="3224" y="255"/>
                  <a:pt x="3225" y="255"/>
                  <a:pt x="3226" y="256"/>
                </a:cubicBezTo>
                <a:close/>
                <a:moveTo>
                  <a:pt x="3221" y="252"/>
                </a:moveTo>
                <a:cubicBezTo>
                  <a:pt x="3220" y="251"/>
                  <a:pt x="3219" y="251"/>
                  <a:pt x="3218" y="250"/>
                </a:cubicBezTo>
                <a:cubicBezTo>
                  <a:pt x="3219" y="251"/>
                  <a:pt x="3220" y="251"/>
                  <a:pt x="3221" y="252"/>
                </a:cubicBezTo>
                <a:close/>
                <a:moveTo>
                  <a:pt x="3215" y="248"/>
                </a:moveTo>
                <a:cubicBezTo>
                  <a:pt x="3213" y="247"/>
                  <a:pt x="3212" y="247"/>
                  <a:pt x="3211" y="246"/>
                </a:cubicBezTo>
                <a:cubicBezTo>
                  <a:pt x="3212" y="247"/>
                  <a:pt x="3213" y="247"/>
                  <a:pt x="3215" y="248"/>
                </a:cubicBezTo>
                <a:close/>
                <a:moveTo>
                  <a:pt x="3208" y="244"/>
                </a:moveTo>
                <a:cubicBezTo>
                  <a:pt x="3207" y="243"/>
                  <a:pt x="3206" y="243"/>
                  <a:pt x="3204" y="242"/>
                </a:cubicBezTo>
                <a:cubicBezTo>
                  <a:pt x="3206" y="243"/>
                  <a:pt x="3207" y="243"/>
                  <a:pt x="3208" y="244"/>
                </a:cubicBezTo>
                <a:close/>
                <a:moveTo>
                  <a:pt x="3201" y="240"/>
                </a:moveTo>
                <a:cubicBezTo>
                  <a:pt x="3200" y="239"/>
                  <a:pt x="3198" y="239"/>
                  <a:pt x="3197" y="238"/>
                </a:cubicBezTo>
                <a:cubicBezTo>
                  <a:pt x="3198" y="239"/>
                  <a:pt x="3200" y="239"/>
                  <a:pt x="3201" y="240"/>
                </a:cubicBezTo>
                <a:close/>
                <a:moveTo>
                  <a:pt x="3193" y="236"/>
                </a:moveTo>
                <a:cubicBezTo>
                  <a:pt x="3192" y="235"/>
                  <a:pt x="3190" y="235"/>
                  <a:pt x="3189" y="234"/>
                </a:cubicBezTo>
                <a:cubicBezTo>
                  <a:pt x="3190" y="235"/>
                  <a:pt x="3192" y="235"/>
                  <a:pt x="3193" y="236"/>
                </a:cubicBezTo>
                <a:close/>
                <a:moveTo>
                  <a:pt x="3185" y="232"/>
                </a:moveTo>
                <a:cubicBezTo>
                  <a:pt x="3183" y="231"/>
                  <a:pt x="3182" y="231"/>
                  <a:pt x="3180" y="230"/>
                </a:cubicBezTo>
                <a:cubicBezTo>
                  <a:pt x="3182" y="231"/>
                  <a:pt x="3183" y="231"/>
                  <a:pt x="3185" y="232"/>
                </a:cubicBezTo>
                <a:close/>
                <a:moveTo>
                  <a:pt x="3176" y="228"/>
                </a:moveTo>
                <a:cubicBezTo>
                  <a:pt x="3174" y="227"/>
                  <a:pt x="3171" y="226"/>
                  <a:pt x="3169" y="225"/>
                </a:cubicBezTo>
                <a:cubicBezTo>
                  <a:pt x="3171" y="226"/>
                  <a:pt x="3174" y="227"/>
                  <a:pt x="3176" y="228"/>
                </a:cubicBezTo>
                <a:close/>
                <a:moveTo>
                  <a:pt x="3164" y="222"/>
                </a:moveTo>
                <a:cubicBezTo>
                  <a:pt x="3162" y="222"/>
                  <a:pt x="3160" y="221"/>
                  <a:pt x="3158" y="220"/>
                </a:cubicBezTo>
                <a:cubicBezTo>
                  <a:pt x="3160" y="221"/>
                  <a:pt x="3162" y="222"/>
                  <a:pt x="3164" y="222"/>
                </a:cubicBezTo>
                <a:close/>
                <a:moveTo>
                  <a:pt x="3153" y="218"/>
                </a:moveTo>
                <a:cubicBezTo>
                  <a:pt x="3151" y="218"/>
                  <a:pt x="3150" y="217"/>
                  <a:pt x="3148" y="216"/>
                </a:cubicBezTo>
                <a:cubicBezTo>
                  <a:pt x="3150" y="217"/>
                  <a:pt x="3151" y="218"/>
                  <a:pt x="3153" y="218"/>
                </a:cubicBezTo>
                <a:close/>
                <a:moveTo>
                  <a:pt x="3143" y="214"/>
                </a:moveTo>
                <a:cubicBezTo>
                  <a:pt x="3141" y="214"/>
                  <a:pt x="3139" y="213"/>
                  <a:pt x="3137" y="212"/>
                </a:cubicBezTo>
                <a:cubicBezTo>
                  <a:pt x="3139" y="213"/>
                  <a:pt x="3141" y="214"/>
                  <a:pt x="3143" y="214"/>
                </a:cubicBezTo>
                <a:close/>
                <a:moveTo>
                  <a:pt x="3109" y="202"/>
                </a:moveTo>
                <a:cubicBezTo>
                  <a:pt x="3107" y="202"/>
                  <a:pt x="3105" y="201"/>
                  <a:pt x="3103" y="200"/>
                </a:cubicBezTo>
                <a:cubicBezTo>
                  <a:pt x="3105" y="201"/>
                  <a:pt x="3107" y="202"/>
                  <a:pt x="3109" y="202"/>
                </a:cubicBezTo>
                <a:close/>
                <a:moveTo>
                  <a:pt x="3096" y="198"/>
                </a:moveTo>
                <a:cubicBezTo>
                  <a:pt x="3094" y="198"/>
                  <a:pt x="3092" y="197"/>
                  <a:pt x="3090" y="196"/>
                </a:cubicBezTo>
                <a:cubicBezTo>
                  <a:pt x="3092" y="197"/>
                  <a:pt x="3094" y="198"/>
                  <a:pt x="3096" y="198"/>
                </a:cubicBezTo>
                <a:close/>
                <a:moveTo>
                  <a:pt x="3083" y="194"/>
                </a:moveTo>
                <a:cubicBezTo>
                  <a:pt x="3081" y="194"/>
                  <a:pt x="3079" y="193"/>
                  <a:pt x="3077" y="192"/>
                </a:cubicBezTo>
                <a:cubicBezTo>
                  <a:pt x="3079" y="193"/>
                  <a:pt x="3081" y="194"/>
                  <a:pt x="3083" y="194"/>
                </a:cubicBezTo>
                <a:close/>
                <a:moveTo>
                  <a:pt x="3070" y="190"/>
                </a:moveTo>
                <a:cubicBezTo>
                  <a:pt x="3068" y="190"/>
                  <a:pt x="3066" y="189"/>
                  <a:pt x="3064" y="189"/>
                </a:cubicBezTo>
                <a:cubicBezTo>
                  <a:pt x="3066" y="189"/>
                  <a:pt x="3068" y="190"/>
                  <a:pt x="3070" y="190"/>
                </a:cubicBezTo>
                <a:close/>
                <a:moveTo>
                  <a:pt x="3057" y="186"/>
                </a:moveTo>
                <a:cubicBezTo>
                  <a:pt x="3055" y="186"/>
                  <a:pt x="3053" y="185"/>
                  <a:pt x="3051" y="185"/>
                </a:cubicBezTo>
                <a:cubicBezTo>
                  <a:pt x="3053" y="185"/>
                  <a:pt x="3055" y="186"/>
                  <a:pt x="3057" y="186"/>
                </a:cubicBezTo>
                <a:close/>
                <a:moveTo>
                  <a:pt x="3035" y="181"/>
                </a:moveTo>
                <a:cubicBezTo>
                  <a:pt x="3033" y="180"/>
                  <a:pt x="3031" y="179"/>
                  <a:pt x="3029" y="179"/>
                </a:cubicBezTo>
                <a:cubicBezTo>
                  <a:pt x="3031" y="179"/>
                  <a:pt x="3033" y="180"/>
                  <a:pt x="3035" y="181"/>
                </a:cubicBezTo>
                <a:close/>
                <a:moveTo>
                  <a:pt x="3020" y="177"/>
                </a:moveTo>
                <a:cubicBezTo>
                  <a:pt x="3018" y="176"/>
                  <a:pt x="3016" y="176"/>
                  <a:pt x="3014" y="175"/>
                </a:cubicBezTo>
                <a:cubicBezTo>
                  <a:pt x="3016" y="176"/>
                  <a:pt x="3018" y="176"/>
                  <a:pt x="3020" y="177"/>
                </a:cubicBezTo>
                <a:close/>
                <a:moveTo>
                  <a:pt x="3005" y="173"/>
                </a:moveTo>
                <a:cubicBezTo>
                  <a:pt x="3003" y="172"/>
                  <a:pt x="3000" y="172"/>
                  <a:pt x="2998" y="171"/>
                </a:cubicBezTo>
                <a:cubicBezTo>
                  <a:pt x="3000" y="172"/>
                  <a:pt x="3003" y="172"/>
                  <a:pt x="3005" y="173"/>
                </a:cubicBezTo>
                <a:close/>
                <a:moveTo>
                  <a:pt x="2989" y="169"/>
                </a:moveTo>
                <a:cubicBezTo>
                  <a:pt x="2987" y="168"/>
                  <a:pt x="2985" y="168"/>
                  <a:pt x="2982" y="167"/>
                </a:cubicBezTo>
                <a:cubicBezTo>
                  <a:pt x="2985" y="168"/>
                  <a:pt x="2987" y="168"/>
                  <a:pt x="2989" y="169"/>
                </a:cubicBezTo>
                <a:close/>
                <a:moveTo>
                  <a:pt x="2973" y="165"/>
                </a:moveTo>
                <a:cubicBezTo>
                  <a:pt x="2971" y="165"/>
                  <a:pt x="2968" y="164"/>
                  <a:pt x="2966" y="164"/>
                </a:cubicBezTo>
                <a:cubicBezTo>
                  <a:pt x="2968" y="164"/>
                  <a:pt x="2971" y="165"/>
                  <a:pt x="2973" y="165"/>
                </a:cubicBezTo>
                <a:close/>
                <a:moveTo>
                  <a:pt x="2957" y="161"/>
                </a:moveTo>
                <a:cubicBezTo>
                  <a:pt x="2954" y="161"/>
                  <a:pt x="2952" y="160"/>
                  <a:pt x="2949" y="160"/>
                </a:cubicBezTo>
                <a:cubicBezTo>
                  <a:pt x="2952" y="160"/>
                  <a:pt x="2954" y="161"/>
                  <a:pt x="2957" y="161"/>
                </a:cubicBezTo>
                <a:close/>
                <a:moveTo>
                  <a:pt x="2940" y="158"/>
                </a:moveTo>
                <a:cubicBezTo>
                  <a:pt x="2937" y="157"/>
                  <a:pt x="2935" y="157"/>
                  <a:pt x="2932" y="156"/>
                </a:cubicBezTo>
                <a:cubicBezTo>
                  <a:pt x="2935" y="157"/>
                  <a:pt x="2937" y="157"/>
                  <a:pt x="2940" y="158"/>
                </a:cubicBezTo>
                <a:close/>
                <a:moveTo>
                  <a:pt x="2922" y="154"/>
                </a:moveTo>
                <a:cubicBezTo>
                  <a:pt x="2920" y="153"/>
                  <a:pt x="2918" y="153"/>
                  <a:pt x="2915" y="152"/>
                </a:cubicBezTo>
                <a:cubicBezTo>
                  <a:pt x="2918" y="153"/>
                  <a:pt x="2920" y="153"/>
                  <a:pt x="2922" y="154"/>
                </a:cubicBezTo>
                <a:close/>
                <a:moveTo>
                  <a:pt x="2904" y="150"/>
                </a:moveTo>
                <a:cubicBezTo>
                  <a:pt x="2902" y="150"/>
                  <a:pt x="2900" y="149"/>
                  <a:pt x="2899" y="149"/>
                </a:cubicBezTo>
                <a:cubicBezTo>
                  <a:pt x="2900" y="149"/>
                  <a:pt x="2902" y="150"/>
                  <a:pt x="2904" y="150"/>
                </a:cubicBezTo>
                <a:close/>
                <a:moveTo>
                  <a:pt x="2855" y="140"/>
                </a:moveTo>
                <a:cubicBezTo>
                  <a:pt x="2853" y="140"/>
                  <a:pt x="2851" y="140"/>
                  <a:pt x="2850" y="139"/>
                </a:cubicBezTo>
                <a:cubicBezTo>
                  <a:pt x="2851" y="140"/>
                  <a:pt x="2853" y="140"/>
                  <a:pt x="2855" y="140"/>
                </a:cubicBezTo>
                <a:close/>
                <a:moveTo>
                  <a:pt x="2837" y="137"/>
                </a:moveTo>
                <a:cubicBezTo>
                  <a:pt x="2835" y="137"/>
                  <a:pt x="2833" y="136"/>
                  <a:pt x="2830" y="136"/>
                </a:cubicBezTo>
                <a:cubicBezTo>
                  <a:pt x="2833" y="136"/>
                  <a:pt x="2835" y="137"/>
                  <a:pt x="2837" y="137"/>
                </a:cubicBezTo>
                <a:close/>
                <a:moveTo>
                  <a:pt x="2818" y="134"/>
                </a:moveTo>
                <a:cubicBezTo>
                  <a:pt x="2816" y="133"/>
                  <a:pt x="2813" y="133"/>
                  <a:pt x="2811" y="132"/>
                </a:cubicBezTo>
                <a:cubicBezTo>
                  <a:pt x="2813" y="133"/>
                  <a:pt x="2816" y="133"/>
                  <a:pt x="2818" y="134"/>
                </a:cubicBezTo>
                <a:close/>
                <a:moveTo>
                  <a:pt x="2798" y="130"/>
                </a:moveTo>
                <a:cubicBezTo>
                  <a:pt x="2796" y="130"/>
                  <a:pt x="2793" y="129"/>
                  <a:pt x="2790" y="129"/>
                </a:cubicBezTo>
                <a:cubicBezTo>
                  <a:pt x="2793" y="129"/>
                  <a:pt x="2796" y="130"/>
                  <a:pt x="2798" y="130"/>
                </a:cubicBezTo>
                <a:close/>
                <a:moveTo>
                  <a:pt x="2778" y="127"/>
                </a:moveTo>
                <a:cubicBezTo>
                  <a:pt x="2775" y="126"/>
                  <a:pt x="2773" y="126"/>
                  <a:pt x="2770" y="125"/>
                </a:cubicBezTo>
                <a:cubicBezTo>
                  <a:pt x="2773" y="126"/>
                  <a:pt x="2775" y="126"/>
                  <a:pt x="2778" y="127"/>
                </a:cubicBezTo>
                <a:close/>
                <a:moveTo>
                  <a:pt x="2757" y="123"/>
                </a:moveTo>
                <a:cubicBezTo>
                  <a:pt x="2754" y="123"/>
                  <a:pt x="2752" y="122"/>
                  <a:pt x="2749" y="122"/>
                </a:cubicBezTo>
                <a:cubicBezTo>
                  <a:pt x="2752" y="122"/>
                  <a:pt x="2754" y="123"/>
                  <a:pt x="2757" y="123"/>
                </a:cubicBezTo>
                <a:close/>
                <a:moveTo>
                  <a:pt x="2736" y="120"/>
                </a:moveTo>
                <a:cubicBezTo>
                  <a:pt x="2733" y="119"/>
                  <a:pt x="2731" y="119"/>
                  <a:pt x="2728" y="118"/>
                </a:cubicBezTo>
                <a:cubicBezTo>
                  <a:pt x="2731" y="119"/>
                  <a:pt x="2733" y="119"/>
                  <a:pt x="2736" y="120"/>
                </a:cubicBezTo>
                <a:close/>
                <a:moveTo>
                  <a:pt x="2691" y="114"/>
                </a:moveTo>
                <a:cubicBezTo>
                  <a:pt x="2691" y="114"/>
                  <a:pt x="2691" y="114"/>
                  <a:pt x="2691" y="114"/>
                </a:cubicBezTo>
                <a:cubicBezTo>
                  <a:pt x="2691" y="114"/>
                  <a:pt x="2691" y="114"/>
                  <a:pt x="2691" y="114"/>
                </a:cubicBezTo>
                <a:close/>
                <a:moveTo>
                  <a:pt x="2747" y="124"/>
                </a:moveTo>
                <a:cubicBezTo>
                  <a:pt x="2747" y="124"/>
                  <a:pt x="2747" y="124"/>
                  <a:pt x="2748" y="124"/>
                </a:cubicBezTo>
                <a:cubicBezTo>
                  <a:pt x="2747" y="124"/>
                  <a:pt x="2747" y="124"/>
                  <a:pt x="2747" y="124"/>
                </a:cubicBezTo>
                <a:close/>
                <a:moveTo>
                  <a:pt x="2764" y="127"/>
                </a:moveTo>
                <a:cubicBezTo>
                  <a:pt x="2765" y="127"/>
                  <a:pt x="2766" y="127"/>
                  <a:pt x="2767" y="128"/>
                </a:cubicBezTo>
                <a:cubicBezTo>
                  <a:pt x="2766" y="127"/>
                  <a:pt x="2765" y="127"/>
                  <a:pt x="2764" y="127"/>
                </a:cubicBezTo>
                <a:close/>
                <a:moveTo>
                  <a:pt x="2781" y="130"/>
                </a:moveTo>
                <a:cubicBezTo>
                  <a:pt x="2782" y="130"/>
                  <a:pt x="2783" y="131"/>
                  <a:pt x="2785" y="131"/>
                </a:cubicBezTo>
                <a:cubicBezTo>
                  <a:pt x="2783" y="131"/>
                  <a:pt x="2782" y="130"/>
                  <a:pt x="2781" y="130"/>
                </a:cubicBezTo>
                <a:close/>
                <a:moveTo>
                  <a:pt x="2797" y="133"/>
                </a:moveTo>
                <a:cubicBezTo>
                  <a:pt x="2799" y="134"/>
                  <a:pt x="2800" y="134"/>
                  <a:pt x="2802" y="134"/>
                </a:cubicBezTo>
                <a:cubicBezTo>
                  <a:pt x="2800" y="134"/>
                  <a:pt x="2799" y="134"/>
                  <a:pt x="2797" y="133"/>
                </a:cubicBezTo>
                <a:close/>
                <a:moveTo>
                  <a:pt x="2813" y="137"/>
                </a:moveTo>
                <a:cubicBezTo>
                  <a:pt x="2815" y="137"/>
                  <a:pt x="2817" y="137"/>
                  <a:pt x="2818" y="138"/>
                </a:cubicBezTo>
                <a:cubicBezTo>
                  <a:pt x="2817" y="137"/>
                  <a:pt x="2815" y="137"/>
                  <a:pt x="2813" y="137"/>
                </a:cubicBezTo>
                <a:close/>
                <a:moveTo>
                  <a:pt x="2830" y="140"/>
                </a:moveTo>
                <a:cubicBezTo>
                  <a:pt x="2831" y="140"/>
                  <a:pt x="2833" y="141"/>
                  <a:pt x="2834" y="141"/>
                </a:cubicBezTo>
                <a:cubicBezTo>
                  <a:pt x="2833" y="141"/>
                  <a:pt x="2831" y="140"/>
                  <a:pt x="2830" y="140"/>
                </a:cubicBezTo>
                <a:close/>
                <a:moveTo>
                  <a:pt x="2846" y="144"/>
                </a:moveTo>
                <a:cubicBezTo>
                  <a:pt x="2847" y="144"/>
                  <a:pt x="2848" y="144"/>
                  <a:pt x="2849" y="144"/>
                </a:cubicBezTo>
                <a:cubicBezTo>
                  <a:pt x="2848" y="144"/>
                  <a:pt x="2847" y="144"/>
                  <a:pt x="2846" y="144"/>
                </a:cubicBezTo>
                <a:close/>
                <a:moveTo>
                  <a:pt x="2864" y="147"/>
                </a:moveTo>
                <a:cubicBezTo>
                  <a:pt x="2864" y="147"/>
                  <a:pt x="2864" y="147"/>
                  <a:pt x="2864" y="148"/>
                </a:cubicBezTo>
                <a:cubicBezTo>
                  <a:pt x="2864" y="147"/>
                  <a:pt x="2864" y="147"/>
                  <a:pt x="2864" y="147"/>
                </a:cubicBezTo>
                <a:close/>
                <a:moveTo>
                  <a:pt x="2894" y="154"/>
                </a:moveTo>
                <a:cubicBezTo>
                  <a:pt x="2895" y="155"/>
                  <a:pt x="2896" y="155"/>
                  <a:pt x="2897" y="155"/>
                </a:cubicBezTo>
                <a:cubicBezTo>
                  <a:pt x="2896" y="155"/>
                  <a:pt x="2895" y="155"/>
                  <a:pt x="2894" y="154"/>
                </a:cubicBezTo>
                <a:close/>
                <a:moveTo>
                  <a:pt x="2907" y="158"/>
                </a:moveTo>
                <a:cubicBezTo>
                  <a:pt x="2909" y="158"/>
                  <a:pt x="2910" y="158"/>
                  <a:pt x="2912" y="159"/>
                </a:cubicBezTo>
                <a:cubicBezTo>
                  <a:pt x="2910" y="158"/>
                  <a:pt x="2909" y="158"/>
                  <a:pt x="2907" y="158"/>
                </a:cubicBezTo>
                <a:close/>
                <a:moveTo>
                  <a:pt x="2921" y="161"/>
                </a:moveTo>
                <a:cubicBezTo>
                  <a:pt x="2922" y="161"/>
                  <a:pt x="2924" y="162"/>
                  <a:pt x="2926" y="162"/>
                </a:cubicBezTo>
                <a:cubicBezTo>
                  <a:pt x="2924" y="162"/>
                  <a:pt x="2922" y="161"/>
                  <a:pt x="2921" y="161"/>
                </a:cubicBezTo>
                <a:close/>
                <a:moveTo>
                  <a:pt x="2934" y="164"/>
                </a:moveTo>
                <a:cubicBezTo>
                  <a:pt x="2936" y="165"/>
                  <a:pt x="2937" y="165"/>
                  <a:pt x="2939" y="166"/>
                </a:cubicBezTo>
                <a:cubicBezTo>
                  <a:pt x="2937" y="165"/>
                  <a:pt x="2936" y="165"/>
                  <a:pt x="2934" y="164"/>
                </a:cubicBezTo>
                <a:close/>
                <a:moveTo>
                  <a:pt x="2947" y="168"/>
                </a:moveTo>
                <a:cubicBezTo>
                  <a:pt x="2948" y="168"/>
                  <a:pt x="2950" y="169"/>
                  <a:pt x="2951" y="169"/>
                </a:cubicBezTo>
                <a:cubicBezTo>
                  <a:pt x="2950" y="169"/>
                  <a:pt x="2948" y="168"/>
                  <a:pt x="2947" y="168"/>
                </a:cubicBezTo>
                <a:close/>
                <a:moveTo>
                  <a:pt x="2959" y="171"/>
                </a:moveTo>
                <a:cubicBezTo>
                  <a:pt x="2961" y="172"/>
                  <a:pt x="2962" y="172"/>
                  <a:pt x="2964" y="173"/>
                </a:cubicBezTo>
                <a:cubicBezTo>
                  <a:pt x="2962" y="172"/>
                  <a:pt x="2961" y="172"/>
                  <a:pt x="2959" y="171"/>
                </a:cubicBezTo>
                <a:close/>
                <a:moveTo>
                  <a:pt x="2971" y="175"/>
                </a:moveTo>
                <a:cubicBezTo>
                  <a:pt x="2973" y="175"/>
                  <a:pt x="2974" y="176"/>
                  <a:pt x="2975" y="176"/>
                </a:cubicBezTo>
                <a:cubicBezTo>
                  <a:pt x="2974" y="176"/>
                  <a:pt x="2973" y="175"/>
                  <a:pt x="2971" y="175"/>
                </a:cubicBezTo>
                <a:close/>
                <a:moveTo>
                  <a:pt x="2983" y="178"/>
                </a:moveTo>
                <a:cubicBezTo>
                  <a:pt x="2984" y="179"/>
                  <a:pt x="2986" y="179"/>
                  <a:pt x="2987" y="179"/>
                </a:cubicBezTo>
                <a:cubicBezTo>
                  <a:pt x="2986" y="179"/>
                  <a:pt x="2984" y="179"/>
                  <a:pt x="2983" y="178"/>
                </a:cubicBezTo>
                <a:close/>
                <a:moveTo>
                  <a:pt x="3018" y="190"/>
                </a:moveTo>
                <a:cubicBezTo>
                  <a:pt x="3020" y="190"/>
                  <a:pt x="3021" y="191"/>
                  <a:pt x="3022" y="191"/>
                </a:cubicBezTo>
                <a:cubicBezTo>
                  <a:pt x="3021" y="191"/>
                  <a:pt x="3020" y="190"/>
                  <a:pt x="3018" y="190"/>
                </a:cubicBezTo>
                <a:close/>
                <a:moveTo>
                  <a:pt x="3008" y="186"/>
                </a:moveTo>
                <a:cubicBezTo>
                  <a:pt x="3009" y="187"/>
                  <a:pt x="3010" y="187"/>
                  <a:pt x="3012" y="188"/>
                </a:cubicBezTo>
                <a:cubicBezTo>
                  <a:pt x="3010" y="187"/>
                  <a:pt x="3009" y="187"/>
                  <a:pt x="3008" y="186"/>
                </a:cubicBezTo>
                <a:close/>
                <a:moveTo>
                  <a:pt x="3081" y="216"/>
                </a:moveTo>
                <a:cubicBezTo>
                  <a:pt x="3080" y="215"/>
                  <a:pt x="3079" y="215"/>
                  <a:pt x="3079" y="215"/>
                </a:cubicBezTo>
                <a:cubicBezTo>
                  <a:pt x="3079" y="215"/>
                  <a:pt x="3080" y="215"/>
                  <a:pt x="3081" y="216"/>
                </a:cubicBezTo>
                <a:close/>
                <a:moveTo>
                  <a:pt x="3074" y="212"/>
                </a:moveTo>
                <a:cubicBezTo>
                  <a:pt x="3073" y="212"/>
                  <a:pt x="3072" y="211"/>
                  <a:pt x="3071" y="211"/>
                </a:cubicBezTo>
                <a:cubicBezTo>
                  <a:pt x="3072" y="211"/>
                  <a:pt x="3073" y="212"/>
                  <a:pt x="3074" y="212"/>
                </a:cubicBezTo>
                <a:close/>
                <a:moveTo>
                  <a:pt x="3066" y="209"/>
                </a:moveTo>
                <a:cubicBezTo>
                  <a:pt x="3065" y="208"/>
                  <a:pt x="3064" y="208"/>
                  <a:pt x="3063" y="207"/>
                </a:cubicBezTo>
                <a:cubicBezTo>
                  <a:pt x="3064" y="208"/>
                  <a:pt x="3065" y="208"/>
                  <a:pt x="3066" y="209"/>
                </a:cubicBezTo>
                <a:close/>
                <a:moveTo>
                  <a:pt x="3058" y="205"/>
                </a:moveTo>
                <a:cubicBezTo>
                  <a:pt x="3057" y="205"/>
                  <a:pt x="3056" y="204"/>
                  <a:pt x="3055" y="204"/>
                </a:cubicBezTo>
                <a:cubicBezTo>
                  <a:pt x="3056" y="204"/>
                  <a:pt x="3057" y="205"/>
                  <a:pt x="3058" y="205"/>
                </a:cubicBezTo>
                <a:close/>
                <a:moveTo>
                  <a:pt x="3050" y="202"/>
                </a:moveTo>
                <a:cubicBezTo>
                  <a:pt x="3049" y="201"/>
                  <a:pt x="3047" y="201"/>
                  <a:pt x="3046" y="200"/>
                </a:cubicBezTo>
                <a:cubicBezTo>
                  <a:pt x="3047" y="201"/>
                  <a:pt x="3049" y="201"/>
                  <a:pt x="3050" y="202"/>
                </a:cubicBezTo>
                <a:close/>
                <a:moveTo>
                  <a:pt x="3041" y="198"/>
                </a:moveTo>
                <a:cubicBezTo>
                  <a:pt x="3040" y="198"/>
                  <a:pt x="3039" y="197"/>
                  <a:pt x="3037" y="197"/>
                </a:cubicBezTo>
                <a:cubicBezTo>
                  <a:pt x="3039" y="197"/>
                  <a:pt x="3040" y="198"/>
                  <a:pt x="3041" y="198"/>
                </a:cubicBezTo>
                <a:close/>
                <a:moveTo>
                  <a:pt x="3032" y="195"/>
                </a:moveTo>
                <a:cubicBezTo>
                  <a:pt x="3031" y="194"/>
                  <a:pt x="3029" y="194"/>
                  <a:pt x="3028" y="193"/>
                </a:cubicBezTo>
                <a:cubicBezTo>
                  <a:pt x="3029" y="194"/>
                  <a:pt x="3031" y="194"/>
                  <a:pt x="3032" y="195"/>
                </a:cubicBezTo>
                <a:close/>
                <a:moveTo>
                  <a:pt x="573" y="74"/>
                </a:moveTo>
                <a:cubicBezTo>
                  <a:pt x="580" y="72"/>
                  <a:pt x="588" y="71"/>
                  <a:pt x="595" y="69"/>
                </a:cubicBezTo>
                <a:cubicBezTo>
                  <a:pt x="588" y="71"/>
                  <a:pt x="580" y="72"/>
                  <a:pt x="573" y="74"/>
                </a:cubicBezTo>
                <a:close/>
                <a:moveTo>
                  <a:pt x="597" y="69"/>
                </a:moveTo>
                <a:cubicBezTo>
                  <a:pt x="605" y="67"/>
                  <a:pt x="613" y="66"/>
                  <a:pt x="622" y="65"/>
                </a:cubicBezTo>
                <a:cubicBezTo>
                  <a:pt x="613" y="66"/>
                  <a:pt x="605" y="67"/>
                  <a:pt x="597" y="69"/>
                </a:cubicBezTo>
                <a:close/>
                <a:moveTo>
                  <a:pt x="550" y="79"/>
                </a:moveTo>
                <a:cubicBezTo>
                  <a:pt x="556" y="77"/>
                  <a:pt x="563" y="76"/>
                  <a:pt x="570" y="74"/>
                </a:cubicBezTo>
                <a:cubicBezTo>
                  <a:pt x="563" y="76"/>
                  <a:pt x="556" y="77"/>
                  <a:pt x="550" y="79"/>
                </a:cubicBezTo>
                <a:close/>
                <a:moveTo>
                  <a:pt x="715" y="72"/>
                </a:moveTo>
                <a:cubicBezTo>
                  <a:pt x="718" y="71"/>
                  <a:pt x="721" y="71"/>
                  <a:pt x="724" y="70"/>
                </a:cubicBezTo>
                <a:cubicBezTo>
                  <a:pt x="721" y="71"/>
                  <a:pt x="718" y="71"/>
                  <a:pt x="715" y="72"/>
                </a:cubicBezTo>
                <a:close/>
                <a:moveTo>
                  <a:pt x="633" y="95"/>
                </a:moveTo>
                <a:cubicBezTo>
                  <a:pt x="634" y="94"/>
                  <a:pt x="636" y="94"/>
                  <a:pt x="638" y="93"/>
                </a:cubicBezTo>
                <a:cubicBezTo>
                  <a:pt x="636" y="94"/>
                  <a:pt x="634" y="94"/>
                  <a:pt x="633" y="95"/>
                </a:cubicBezTo>
                <a:close/>
                <a:moveTo>
                  <a:pt x="647" y="90"/>
                </a:moveTo>
                <a:cubicBezTo>
                  <a:pt x="649" y="89"/>
                  <a:pt x="651" y="89"/>
                  <a:pt x="653" y="88"/>
                </a:cubicBezTo>
                <a:cubicBezTo>
                  <a:pt x="651" y="89"/>
                  <a:pt x="649" y="89"/>
                  <a:pt x="647" y="90"/>
                </a:cubicBezTo>
                <a:close/>
                <a:moveTo>
                  <a:pt x="662" y="85"/>
                </a:moveTo>
                <a:cubicBezTo>
                  <a:pt x="664" y="85"/>
                  <a:pt x="667" y="84"/>
                  <a:pt x="669" y="83"/>
                </a:cubicBezTo>
                <a:cubicBezTo>
                  <a:pt x="667" y="84"/>
                  <a:pt x="664" y="85"/>
                  <a:pt x="662" y="85"/>
                </a:cubicBezTo>
                <a:close/>
                <a:moveTo>
                  <a:pt x="679" y="81"/>
                </a:moveTo>
                <a:cubicBezTo>
                  <a:pt x="681" y="80"/>
                  <a:pt x="684" y="79"/>
                  <a:pt x="686" y="79"/>
                </a:cubicBezTo>
                <a:cubicBezTo>
                  <a:pt x="684" y="79"/>
                  <a:pt x="681" y="80"/>
                  <a:pt x="679" y="81"/>
                </a:cubicBezTo>
                <a:close/>
                <a:moveTo>
                  <a:pt x="696" y="76"/>
                </a:moveTo>
                <a:cubicBezTo>
                  <a:pt x="699" y="76"/>
                  <a:pt x="702" y="75"/>
                  <a:pt x="704" y="74"/>
                </a:cubicBezTo>
                <a:cubicBezTo>
                  <a:pt x="702" y="75"/>
                  <a:pt x="699" y="76"/>
                  <a:pt x="696" y="76"/>
                </a:cubicBezTo>
                <a:close/>
                <a:moveTo>
                  <a:pt x="735" y="68"/>
                </a:moveTo>
                <a:cubicBezTo>
                  <a:pt x="738" y="67"/>
                  <a:pt x="741" y="67"/>
                  <a:pt x="744" y="66"/>
                </a:cubicBezTo>
                <a:cubicBezTo>
                  <a:pt x="741" y="67"/>
                  <a:pt x="738" y="67"/>
                  <a:pt x="735" y="68"/>
                </a:cubicBezTo>
                <a:close/>
                <a:moveTo>
                  <a:pt x="757" y="64"/>
                </a:moveTo>
                <a:cubicBezTo>
                  <a:pt x="760" y="63"/>
                  <a:pt x="762" y="63"/>
                  <a:pt x="765" y="62"/>
                </a:cubicBezTo>
                <a:cubicBezTo>
                  <a:pt x="762" y="63"/>
                  <a:pt x="760" y="63"/>
                  <a:pt x="757" y="64"/>
                </a:cubicBezTo>
                <a:close/>
                <a:moveTo>
                  <a:pt x="1449" y="21"/>
                </a:moveTo>
                <a:cubicBezTo>
                  <a:pt x="1445" y="21"/>
                  <a:pt x="1441" y="21"/>
                  <a:pt x="1437" y="21"/>
                </a:cubicBezTo>
                <a:cubicBezTo>
                  <a:pt x="1441" y="21"/>
                  <a:pt x="1445" y="21"/>
                  <a:pt x="1449" y="21"/>
                </a:cubicBezTo>
                <a:close/>
                <a:moveTo>
                  <a:pt x="780" y="60"/>
                </a:moveTo>
                <a:cubicBezTo>
                  <a:pt x="782" y="60"/>
                  <a:pt x="785" y="59"/>
                  <a:pt x="788" y="59"/>
                </a:cubicBezTo>
                <a:cubicBezTo>
                  <a:pt x="785" y="59"/>
                  <a:pt x="782" y="60"/>
                  <a:pt x="780" y="60"/>
                </a:cubicBezTo>
                <a:close/>
                <a:moveTo>
                  <a:pt x="806" y="56"/>
                </a:moveTo>
                <a:cubicBezTo>
                  <a:pt x="808" y="56"/>
                  <a:pt x="810" y="55"/>
                  <a:pt x="811" y="55"/>
                </a:cubicBezTo>
                <a:cubicBezTo>
                  <a:pt x="810" y="55"/>
                  <a:pt x="808" y="56"/>
                  <a:pt x="806" y="56"/>
                </a:cubicBezTo>
                <a:close/>
                <a:moveTo>
                  <a:pt x="836" y="52"/>
                </a:moveTo>
                <a:cubicBezTo>
                  <a:pt x="838" y="52"/>
                  <a:pt x="841" y="51"/>
                  <a:pt x="843" y="51"/>
                </a:cubicBezTo>
                <a:cubicBezTo>
                  <a:pt x="841" y="51"/>
                  <a:pt x="838" y="52"/>
                  <a:pt x="836" y="52"/>
                </a:cubicBezTo>
                <a:close/>
                <a:moveTo>
                  <a:pt x="861" y="49"/>
                </a:moveTo>
                <a:cubicBezTo>
                  <a:pt x="865" y="48"/>
                  <a:pt x="868" y="48"/>
                  <a:pt x="871" y="48"/>
                </a:cubicBezTo>
                <a:cubicBezTo>
                  <a:pt x="868" y="48"/>
                  <a:pt x="865" y="48"/>
                  <a:pt x="861" y="49"/>
                </a:cubicBezTo>
                <a:close/>
                <a:moveTo>
                  <a:pt x="888" y="46"/>
                </a:moveTo>
                <a:cubicBezTo>
                  <a:pt x="892" y="45"/>
                  <a:pt x="895" y="45"/>
                  <a:pt x="899" y="45"/>
                </a:cubicBezTo>
                <a:cubicBezTo>
                  <a:pt x="895" y="45"/>
                  <a:pt x="892" y="45"/>
                  <a:pt x="888" y="46"/>
                </a:cubicBezTo>
                <a:close/>
                <a:moveTo>
                  <a:pt x="915" y="43"/>
                </a:moveTo>
                <a:cubicBezTo>
                  <a:pt x="919" y="42"/>
                  <a:pt x="923" y="42"/>
                  <a:pt x="927" y="42"/>
                </a:cubicBezTo>
                <a:cubicBezTo>
                  <a:pt x="923" y="42"/>
                  <a:pt x="919" y="42"/>
                  <a:pt x="915" y="43"/>
                </a:cubicBezTo>
                <a:close/>
                <a:moveTo>
                  <a:pt x="944" y="40"/>
                </a:moveTo>
                <a:cubicBezTo>
                  <a:pt x="948" y="40"/>
                  <a:pt x="952" y="39"/>
                  <a:pt x="956" y="39"/>
                </a:cubicBezTo>
                <a:cubicBezTo>
                  <a:pt x="952" y="39"/>
                  <a:pt x="948" y="40"/>
                  <a:pt x="944" y="40"/>
                </a:cubicBezTo>
                <a:close/>
                <a:moveTo>
                  <a:pt x="973" y="38"/>
                </a:moveTo>
                <a:cubicBezTo>
                  <a:pt x="977" y="37"/>
                  <a:pt x="981" y="37"/>
                  <a:pt x="986" y="37"/>
                </a:cubicBezTo>
                <a:cubicBezTo>
                  <a:pt x="981" y="37"/>
                  <a:pt x="977" y="37"/>
                  <a:pt x="973" y="38"/>
                </a:cubicBezTo>
                <a:close/>
                <a:moveTo>
                  <a:pt x="1003" y="35"/>
                </a:moveTo>
                <a:cubicBezTo>
                  <a:pt x="1008" y="35"/>
                  <a:pt x="1012" y="35"/>
                  <a:pt x="1016" y="34"/>
                </a:cubicBezTo>
                <a:cubicBezTo>
                  <a:pt x="1012" y="35"/>
                  <a:pt x="1008" y="35"/>
                  <a:pt x="1003" y="35"/>
                </a:cubicBezTo>
                <a:close/>
                <a:moveTo>
                  <a:pt x="1035" y="33"/>
                </a:moveTo>
                <a:cubicBezTo>
                  <a:pt x="1039" y="33"/>
                  <a:pt x="1043" y="33"/>
                  <a:pt x="1047" y="32"/>
                </a:cubicBezTo>
                <a:cubicBezTo>
                  <a:pt x="1043" y="33"/>
                  <a:pt x="1039" y="33"/>
                  <a:pt x="1035" y="33"/>
                </a:cubicBezTo>
                <a:close/>
                <a:moveTo>
                  <a:pt x="1068" y="31"/>
                </a:moveTo>
                <a:cubicBezTo>
                  <a:pt x="1072" y="31"/>
                  <a:pt x="1075" y="31"/>
                  <a:pt x="1079" y="30"/>
                </a:cubicBezTo>
                <a:cubicBezTo>
                  <a:pt x="1075" y="31"/>
                  <a:pt x="1072" y="31"/>
                  <a:pt x="1068" y="31"/>
                </a:cubicBezTo>
                <a:close/>
                <a:moveTo>
                  <a:pt x="1104" y="29"/>
                </a:moveTo>
                <a:cubicBezTo>
                  <a:pt x="1107" y="29"/>
                  <a:pt x="1109" y="29"/>
                  <a:pt x="1111" y="29"/>
                </a:cubicBezTo>
                <a:cubicBezTo>
                  <a:pt x="1109" y="29"/>
                  <a:pt x="1107" y="29"/>
                  <a:pt x="1104" y="29"/>
                </a:cubicBezTo>
                <a:close/>
                <a:moveTo>
                  <a:pt x="1145" y="27"/>
                </a:moveTo>
                <a:cubicBezTo>
                  <a:pt x="1145" y="27"/>
                  <a:pt x="1145" y="27"/>
                  <a:pt x="1145" y="27"/>
                </a:cubicBezTo>
                <a:cubicBezTo>
                  <a:pt x="1145" y="27"/>
                  <a:pt x="1145" y="27"/>
                  <a:pt x="1145" y="27"/>
                </a:cubicBezTo>
                <a:close/>
                <a:moveTo>
                  <a:pt x="1179" y="26"/>
                </a:moveTo>
                <a:cubicBezTo>
                  <a:pt x="1182" y="26"/>
                  <a:pt x="1186" y="26"/>
                  <a:pt x="1189" y="26"/>
                </a:cubicBezTo>
                <a:cubicBezTo>
                  <a:pt x="1186" y="26"/>
                  <a:pt x="1182" y="26"/>
                  <a:pt x="1179" y="26"/>
                </a:cubicBezTo>
                <a:close/>
                <a:moveTo>
                  <a:pt x="1214" y="25"/>
                </a:moveTo>
                <a:cubicBezTo>
                  <a:pt x="1218" y="25"/>
                  <a:pt x="1222" y="24"/>
                  <a:pt x="1226" y="24"/>
                </a:cubicBezTo>
                <a:cubicBezTo>
                  <a:pt x="1222" y="24"/>
                  <a:pt x="1218" y="25"/>
                  <a:pt x="1214" y="25"/>
                </a:cubicBezTo>
                <a:close/>
                <a:moveTo>
                  <a:pt x="1249" y="24"/>
                </a:moveTo>
                <a:cubicBezTo>
                  <a:pt x="1254" y="24"/>
                  <a:pt x="1258" y="23"/>
                  <a:pt x="1262" y="23"/>
                </a:cubicBezTo>
                <a:cubicBezTo>
                  <a:pt x="1258" y="23"/>
                  <a:pt x="1254" y="24"/>
                  <a:pt x="1249" y="24"/>
                </a:cubicBezTo>
                <a:close/>
                <a:moveTo>
                  <a:pt x="1285" y="23"/>
                </a:moveTo>
                <a:cubicBezTo>
                  <a:pt x="1290" y="23"/>
                  <a:pt x="1294" y="23"/>
                  <a:pt x="1299" y="23"/>
                </a:cubicBezTo>
                <a:cubicBezTo>
                  <a:pt x="1294" y="23"/>
                  <a:pt x="1290" y="23"/>
                  <a:pt x="1285" y="23"/>
                </a:cubicBezTo>
                <a:close/>
                <a:moveTo>
                  <a:pt x="1322" y="22"/>
                </a:moveTo>
                <a:cubicBezTo>
                  <a:pt x="1327" y="22"/>
                  <a:pt x="1331" y="22"/>
                  <a:pt x="1336" y="22"/>
                </a:cubicBezTo>
                <a:cubicBezTo>
                  <a:pt x="1331" y="22"/>
                  <a:pt x="1327" y="22"/>
                  <a:pt x="1322" y="22"/>
                </a:cubicBezTo>
                <a:close/>
                <a:moveTo>
                  <a:pt x="1360" y="22"/>
                </a:moveTo>
                <a:cubicBezTo>
                  <a:pt x="1364" y="22"/>
                  <a:pt x="1369" y="22"/>
                  <a:pt x="1373" y="22"/>
                </a:cubicBezTo>
                <a:cubicBezTo>
                  <a:pt x="1369" y="22"/>
                  <a:pt x="1364" y="22"/>
                  <a:pt x="1360" y="22"/>
                </a:cubicBezTo>
                <a:close/>
                <a:moveTo>
                  <a:pt x="1398" y="21"/>
                </a:moveTo>
                <a:cubicBezTo>
                  <a:pt x="1402" y="21"/>
                  <a:pt x="1407" y="21"/>
                  <a:pt x="1411" y="21"/>
                </a:cubicBezTo>
                <a:cubicBezTo>
                  <a:pt x="1407" y="21"/>
                  <a:pt x="1402" y="21"/>
                  <a:pt x="1398" y="21"/>
                </a:cubicBezTo>
                <a:close/>
                <a:moveTo>
                  <a:pt x="842" y="38"/>
                </a:moveTo>
                <a:cubicBezTo>
                  <a:pt x="853" y="38"/>
                  <a:pt x="865" y="37"/>
                  <a:pt x="877" y="36"/>
                </a:cubicBezTo>
                <a:cubicBezTo>
                  <a:pt x="865" y="37"/>
                  <a:pt x="853" y="38"/>
                  <a:pt x="842" y="38"/>
                </a:cubicBezTo>
                <a:close/>
                <a:moveTo>
                  <a:pt x="623" y="64"/>
                </a:moveTo>
                <a:cubicBezTo>
                  <a:pt x="649" y="60"/>
                  <a:pt x="678" y="56"/>
                  <a:pt x="708" y="52"/>
                </a:cubicBezTo>
                <a:cubicBezTo>
                  <a:pt x="678" y="56"/>
                  <a:pt x="649" y="60"/>
                  <a:pt x="623" y="64"/>
                </a:cubicBezTo>
                <a:close/>
                <a:moveTo>
                  <a:pt x="709" y="52"/>
                </a:moveTo>
                <a:cubicBezTo>
                  <a:pt x="718" y="51"/>
                  <a:pt x="729" y="50"/>
                  <a:pt x="739" y="48"/>
                </a:cubicBezTo>
                <a:cubicBezTo>
                  <a:pt x="729" y="50"/>
                  <a:pt x="718" y="51"/>
                  <a:pt x="709" y="52"/>
                </a:cubicBezTo>
                <a:close/>
                <a:moveTo>
                  <a:pt x="740" y="48"/>
                </a:moveTo>
                <a:cubicBezTo>
                  <a:pt x="750" y="47"/>
                  <a:pt x="761" y="46"/>
                  <a:pt x="771" y="45"/>
                </a:cubicBezTo>
                <a:cubicBezTo>
                  <a:pt x="761" y="46"/>
                  <a:pt x="750" y="47"/>
                  <a:pt x="740" y="48"/>
                </a:cubicBezTo>
                <a:close/>
                <a:moveTo>
                  <a:pt x="773" y="45"/>
                </a:moveTo>
                <a:cubicBezTo>
                  <a:pt x="783" y="44"/>
                  <a:pt x="794" y="43"/>
                  <a:pt x="805" y="42"/>
                </a:cubicBezTo>
                <a:cubicBezTo>
                  <a:pt x="794" y="43"/>
                  <a:pt x="783" y="44"/>
                  <a:pt x="773" y="45"/>
                </a:cubicBezTo>
                <a:close/>
                <a:moveTo>
                  <a:pt x="807" y="41"/>
                </a:moveTo>
                <a:cubicBezTo>
                  <a:pt x="818" y="40"/>
                  <a:pt x="829" y="40"/>
                  <a:pt x="840" y="39"/>
                </a:cubicBezTo>
                <a:cubicBezTo>
                  <a:pt x="829" y="40"/>
                  <a:pt x="818" y="40"/>
                  <a:pt x="807" y="41"/>
                </a:cubicBezTo>
                <a:close/>
                <a:moveTo>
                  <a:pt x="470" y="101"/>
                </a:moveTo>
                <a:cubicBezTo>
                  <a:pt x="465" y="103"/>
                  <a:pt x="460" y="105"/>
                  <a:pt x="455" y="107"/>
                </a:cubicBezTo>
                <a:cubicBezTo>
                  <a:pt x="460" y="105"/>
                  <a:pt x="465" y="103"/>
                  <a:pt x="470" y="101"/>
                </a:cubicBezTo>
                <a:close/>
                <a:moveTo>
                  <a:pt x="547" y="79"/>
                </a:moveTo>
                <a:cubicBezTo>
                  <a:pt x="540" y="81"/>
                  <a:pt x="534" y="82"/>
                  <a:pt x="528" y="84"/>
                </a:cubicBezTo>
                <a:cubicBezTo>
                  <a:pt x="534" y="82"/>
                  <a:pt x="540" y="81"/>
                  <a:pt x="547" y="79"/>
                </a:cubicBezTo>
                <a:close/>
                <a:moveTo>
                  <a:pt x="525" y="84"/>
                </a:moveTo>
                <a:cubicBezTo>
                  <a:pt x="519" y="86"/>
                  <a:pt x="513" y="88"/>
                  <a:pt x="507" y="89"/>
                </a:cubicBezTo>
                <a:cubicBezTo>
                  <a:pt x="513" y="88"/>
                  <a:pt x="519" y="86"/>
                  <a:pt x="525" y="84"/>
                </a:cubicBezTo>
                <a:close/>
                <a:moveTo>
                  <a:pt x="505" y="90"/>
                </a:moveTo>
                <a:cubicBezTo>
                  <a:pt x="499" y="92"/>
                  <a:pt x="494" y="93"/>
                  <a:pt x="488" y="95"/>
                </a:cubicBezTo>
                <a:cubicBezTo>
                  <a:pt x="494" y="93"/>
                  <a:pt x="499" y="92"/>
                  <a:pt x="505" y="90"/>
                </a:cubicBezTo>
                <a:close/>
                <a:moveTo>
                  <a:pt x="487" y="96"/>
                </a:moveTo>
                <a:cubicBezTo>
                  <a:pt x="481" y="97"/>
                  <a:pt x="476" y="99"/>
                  <a:pt x="471" y="101"/>
                </a:cubicBezTo>
                <a:cubicBezTo>
                  <a:pt x="476" y="99"/>
                  <a:pt x="481" y="97"/>
                  <a:pt x="487" y="96"/>
                </a:cubicBezTo>
                <a:close/>
                <a:moveTo>
                  <a:pt x="3196" y="345"/>
                </a:moveTo>
                <a:cubicBezTo>
                  <a:pt x="3198" y="344"/>
                  <a:pt x="3201" y="343"/>
                  <a:pt x="3204" y="342"/>
                </a:cubicBezTo>
                <a:cubicBezTo>
                  <a:pt x="3201" y="343"/>
                  <a:pt x="3198" y="344"/>
                  <a:pt x="3196" y="345"/>
                </a:cubicBezTo>
                <a:close/>
                <a:moveTo>
                  <a:pt x="3206" y="340"/>
                </a:moveTo>
                <a:cubicBezTo>
                  <a:pt x="3208" y="340"/>
                  <a:pt x="3209" y="339"/>
                  <a:pt x="3211" y="338"/>
                </a:cubicBezTo>
                <a:cubicBezTo>
                  <a:pt x="3209" y="339"/>
                  <a:pt x="3208" y="340"/>
                  <a:pt x="3206" y="340"/>
                </a:cubicBezTo>
                <a:close/>
                <a:moveTo>
                  <a:pt x="3214" y="337"/>
                </a:moveTo>
                <a:cubicBezTo>
                  <a:pt x="3215" y="336"/>
                  <a:pt x="3216" y="335"/>
                  <a:pt x="3218" y="334"/>
                </a:cubicBezTo>
                <a:cubicBezTo>
                  <a:pt x="3216" y="335"/>
                  <a:pt x="3215" y="336"/>
                  <a:pt x="3214" y="337"/>
                </a:cubicBezTo>
                <a:close/>
                <a:moveTo>
                  <a:pt x="3220" y="333"/>
                </a:moveTo>
                <a:cubicBezTo>
                  <a:pt x="3221" y="332"/>
                  <a:pt x="3223" y="331"/>
                  <a:pt x="3224" y="331"/>
                </a:cubicBezTo>
                <a:cubicBezTo>
                  <a:pt x="3223" y="331"/>
                  <a:pt x="3221" y="332"/>
                  <a:pt x="3220" y="333"/>
                </a:cubicBezTo>
                <a:close/>
                <a:moveTo>
                  <a:pt x="3226" y="329"/>
                </a:moveTo>
                <a:cubicBezTo>
                  <a:pt x="3227" y="328"/>
                  <a:pt x="3228" y="328"/>
                  <a:pt x="3229" y="327"/>
                </a:cubicBezTo>
                <a:cubicBezTo>
                  <a:pt x="3228" y="328"/>
                  <a:pt x="3227" y="328"/>
                  <a:pt x="3226" y="329"/>
                </a:cubicBezTo>
                <a:close/>
                <a:moveTo>
                  <a:pt x="3231" y="325"/>
                </a:moveTo>
                <a:cubicBezTo>
                  <a:pt x="3232" y="325"/>
                  <a:pt x="3233" y="324"/>
                  <a:pt x="3234" y="323"/>
                </a:cubicBezTo>
                <a:cubicBezTo>
                  <a:pt x="3233" y="324"/>
                  <a:pt x="3232" y="325"/>
                  <a:pt x="3231" y="325"/>
                </a:cubicBezTo>
                <a:close/>
                <a:moveTo>
                  <a:pt x="3236" y="322"/>
                </a:moveTo>
                <a:cubicBezTo>
                  <a:pt x="3237" y="321"/>
                  <a:pt x="3238" y="320"/>
                  <a:pt x="3238" y="320"/>
                </a:cubicBezTo>
                <a:cubicBezTo>
                  <a:pt x="3238" y="320"/>
                  <a:pt x="3237" y="321"/>
                  <a:pt x="3236" y="322"/>
                </a:cubicBezTo>
                <a:close/>
                <a:moveTo>
                  <a:pt x="3240" y="318"/>
                </a:moveTo>
                <a:cubicBezTo>
                  <a:pt x="3241" y="317"/>
                  <a:pt x="3241" y="317"/>
                  <a:pt x="3242" y="316"/>
                </a:cubicBezTo>
                <a:cubicBezTo>
                  <a:pt x="3241" y="317"/>
                  <a:pt x="3241" y="317"/>
                  <a:pt x="3240" y="318"/>
                </a:cubicBezTo>
                <a:close/>
                <a:moveTo>
                  <a:pt x="3252" y="295"/>
                </a:moveTo>
                <a:cubicBezTo>
                  <a:pt x="3252" y="296"/>
                  <a:pt x="3252" y="297"/>
                  <a:pt x="3251" y="297"/>
                </a:cubicBezTo>
                <a:cubicBezTo>
                  <a:pt x="3252" y="297"/>
                  <a:pt x="3252" y="296"/>
                  <a:pt x="3252" y="295"/>
                </a:cubicBezTo>
                <a:close/>
                <a:moveTo>
                  <a:pt x="3251" y="299"/>
                </a:moveTo>
                <a:cubicBezTo>
                  <a:pt x="3251" y="300"/>
                  <a:pt x="3251" y="301"/>
                  <a:pt x="3251" y="301"/>
                </a:cubicBezTo>
                <a:cubicBezTo>
                  <a:pt x="3251" y="301"/>
                  <a:pt x="3251" y="300"/>
                  <a:pt x="3251" y="299"/>
                </a:cubicBezTo>
                <a:close/>
                <a:moveTo>
                  <a:pt x="3250" y="303"/>
                </a:moveTo>
                <a:cubicBezTo>
                  <a:pt x="3250" y="304"/>
                  <a:pt x="3249" y="305"/>
                  <a:pt x="3249" y="306"/>
                </a:cubicBezTo>
                <a:cubicBezTo>
                  <a:pt x="3249" y="305"/>
                  <a:pt x="3250" y="304"/>
                  <a:pt x="3250" y="303"/>
                </a:cubicBezTo>
                <a:close/>
                <a:moveTo>
                  <a:pt x="3249" y="307"/>
                </a:moveTo>
                <a:cubicBezTo>
                  <a:pt x="3248" y="308"/>
                  <a:pt x="3247" y="309"/>
                  <a:pt x="3246" y="310"/>
                </a:cubicBezTo>
                <a:cubicBezTo>
                  <a:pt x="3247" y="309"/>
                  <a:pt x="3248" y="308"/>
                  <a:pt x="3249" y="307"/>
                </a:cubicBezTo>
                <a:close/>
                <a:moveTo>
                  <a:pt x="3245" y="312"/>
                </a:moveTo>
                <a:cubicBezTo>
                  <a:pt x="3245" y="313"/>
                  <a:pt x="3244" y="313"/>
                  <a:pt x="3243" y="314"/>
                </a:cubicBezTo>
                <a:cubicBezTo>
                  <a:pt x="3244" y="313"/>
                  <a:pt x="3245" y="313"/>
                  <a:pt x="3245" y="312"/>
                </a:cubicBezTo>
                <a:close/>
              </a:path>
            </a:pathLst>
          </a:custGeom>
          <a:gradFill rotWithShape="1">
            <a:gsLst>
              <a:gs pos="0">
                <a:srgbClr val="B2B2B2">
                  <a:gamma/>
                  <a:tint val="48627"/>
                  <a:invGamma/>
                  <a:alpha val="50000"/>
                </a:srgbClr>
              </a:gs>
              <a:gs pos="100000">
                <a:srgbClr val="B2B2B2"/>
              </a:gs>
            </a:gsLst>
            <a:lin ang="0" scaled="1"/>
          </a:gradFill>
          <a:ln w="9525" cap="flat" cmpd="sng">
            <a:noFill/>
            <a:prstDash val="solid"/>
            <a:round/>
            <a:headEnd type="none" w="med" len="med"/>
            <a:tailEnd type="none" w="med" len="med"/>
          </a:ln>
          <a:effectLst/>
        </p:spPr>
        <p:txBody>
          <a:bodyPr/>
          <a:lstStyle/>
          <a:p>
            <a:endParaRPr lang="en-US"/>
          </a:p>
        </p:txBody>
      </p:sp>
      <p:sp>
        <p:nvSpPr>
          <p:cNvPr id="7" name="Freeform 14">
            <a:extLst>
              <a:ext uri="{FF2B5EF4-FFF2-40B4-BE49-F238E27FC236}">
                <a16:creationId xmlns:a16="http://schemas.microsoft.com/office/drawing/2014/main" id="{8CD39ECB-280A-91A2-2323-058DE26DEF2B}"/>
              </a:ext>
            </a:extLst>
          </p:cNvPr>
          <p:cNvSpPr>
            <a:spLocks/>
          </p:cNvSpPr>
          <p:nvPr/>
        </p:nvSpPr>
        <p:spPr bwMode="auto">
          <a:xfrm>
            <a:off x="7763010" y="3551933"/>
            <a:ext cx="1674909" cy="2158743"/>
          </a:xfrm>
          <a:custGeom>
            <a:avLst/>
            <a:gdLst/>
            <a:ahLst/>
            <a:cxnLst>
              <a:cxn ang="0">
                <a:pos x="970" y="1081"/>
              </a:cxn>
              <a:cxn ang="0">
                <a:pos x="524" y="213"/>
              </a:cxn>
              <a:cxn ang="0">
                <a:pos x="0" y="0"/>
              </a:cxn>
              <a:cxn ang="0">
                <a:pos x="632" y="1366"/>
              </a:cxn>
              <a:cxn ang="0">
                <a:pos x="1687" y="2165"/>
              </a:cxn>
              <a:cxn ang="0">
                <a:pos x="1629" y="1617"/>
              </a:cxn>
              <a:cxn ang="0">
                <a:pos x="970" y="1081"/>
              </a:cxn>
            </a:cxnLst>
            <a:rect l="0" t="0" r="r" b="b"/>
            <a:pathLst>
              <a:path w="1687" h="2165">
                <a:moveTo>
                  <a:pt x="970" y="1081"/>
                </a:moveTo>
                <a:cubicBezTo>
                  <a:pt x="738" y="804"/>
                  <a:pt x="587" y="498"/>
                  <a:pt x="524" y="213"/>
                </a:cubicBezTo>
                <a:cubicBezTo>
                  <a:pt x="0" y="0"/>
                  <a:pt x="0" y="0"/>
                  <a:pt x="0" y="0"/>
                </a:cubicBezTo>
                <a:cubicBezTo>
                  <a:pt x="43" y="427"/>
                  <a:pt x="260" y="923"/>
                  <a:pt x="632" y="1366"/>
                </a:cubicBezTo>
                <a:cubicBezTo>
                  <a:pt x="950" y="1746"/>
                  <a:pt x="1326" y="2021"/>
                  <a:pt x="1687" y="2165"/>
                </a:cubicBezTo>
                <a:cubicBezTo>
                  <a:pt x="1629" y="1617"/>
                  <a:pt x="1629" y="1617"/>
                  <a:pt x="1629" y="1617"/>
                </a:cubicBezTo>
                <a:cubicBezTo>
                  <a:pt x="1398" y="1500"/>
                  <a:pt x="1168" y="1318"/>
                  <a:pt x="970" y="1081"/>
                </a:cubicBezTo>
                <a:close/>
              </a:path>
            </a:pathLst>
          </a:custGeom>
          <a:solidFill>
            <a:schemeClr val="accent3">
              <a:lumMod val="75000"/>
            </a:schemeClr>
          </a:solidFill>
          <a:ln w="12700" cap="flat" cmpd="sng">
            <a:solidFill>
              <a:sysClr val="window" lastClr="FFFFFF"/>
            </a:solidFill>
            <a:prstDash val="solid"/>
            <a:round/>
            <a:headEnd type="none" w="med" len="med"/>
            <a:tailEnd type="none" w="med" len="med"/>
          </a:ln>
          <a:effectLst/>
        </p:spPr>
        <p:txBody>
          <a:bodyPr/>
          <a:lstStyle/>
          <a:p>
            <a:pPr>
              <a:defRPr/>
            </a:pPr>
            <a:endParaRPr lang="en-US" kern="0">
              <a:solidFill>
                <a:prstClr val="black"/>
              </a:solidFill>
            </a:endParaRPr>
          </a:p>
        </p:txBody>
      </p:sp>
      <p:sp>
        <p:nvSpPr>
          <p:cNvPr id="8" name="Freeform 15">
            <a:extLst>
              <a:ext uri="{FF2B5EF4-FFF2-40B4-BE49-F238E27FC236}">
                <a16:creationId xmlns:a16="http://schemas.microsoft.com/office/drawing/2014/main" id="{D0C1EDC0-23AF-7F26-56BC-262CBF311815}"/>
              </a:ext>
            </a:extLst>
          </p:cNvPr>
          <p:cNvSpPr>
            <a:spLocks/>
          </p:cNvSpPr>
          <p:nvPr/>
        </p:nvSpPr>
        <p:spPr bwMode="auto">
          <a:xfrm>
            <a:off x="9381143" y="3875311"/>
            <a:ext cx="1531732" cy="2003225"/>
          </a:xfrm>
          <a:custGeom>
            <a:avLst/>
            <a:gdLst/>
            <a:ahLst/>
            <a:cxnLst>
              <a:cxn ang="0">
                <a:pos x="1101" y="0"/>
              </a:cxn>
              <a:cxn ang="0">
                <a:pos x="1032" y="1294"/>
              </a:cxn>
              <a:cxn ang="0">
                <a:pos x="0" y="1292"/>
              </a:cxn>
              <a:cxn ang="0">
                <a:pos x="58" y="1840"/>
              </a:cxn>
              <a:cxn ang="0">
                <a:pos x="1138" y="1779"/>
              </a:cxn>
              <a:cxn ang="0">
                <a:pos x="1101" y="0"/>
              </a:cxn>
            </a:cxnLst>
            <a:rect l="0" t="0" r="r" b="b"/>
            <a:pathLst>
              <a:path w="1542" h="2008">
                <a:moveTo>
                  <a:pt x="1101" y="0"/>
                </a:moveTo>
                <a:cubicBezTo>
                  <a:pt x="1351" y="515"/>
                  <a:pt x="1340" y="1036"/>
                  <a:pt x="1032" y="1294"/>
                </a:cubicBezTo>
                <a:cubicBezTo>
                  <a:pt x="780" y="1506"/>
                  <a:pt x="388" y="1490"/>
                  <a:pt x="0" y="1292"/>
                </a:cubicBezTo>
                <a:cubicBezTo>
                  <a:pt x="58" y="1840"/>
                  <a:pt x="58" y="1840"/>
                  <a:pt x="58" y="1840"/>
                </a:cubicBezTo>
                <a:cubicBezTo>
                  <a:pt x="476" y="2008"/>
                  <a:pt x="874" y="2000"/>
                  <a:pt x="1138" y="1779"/>
                </a:cubicBezTo>
                <a:cubicBezTo>
                  <a:pt x="1542" y="1440"/>
                  <a:pt x="1507" y="706"/>
                  <a:pt x="1101" y="0"/>
                </a:cubicBezTo>
                <a:close/>
              </a:path>
            </a:pathLst>
          </a:custGeom>
          <a:solidFill>
            <a:schemeClr val="accent1">
              <a:lumMod val="60000"/>
              <a:lumOff val="40000"/>
            </a:schemeClr>
          </a:solidFill>
          <a:ln w="12700" cap="flat" cmpd="sng">
            <a:solidFill>
              <a:sysClr val="window" lastClr="FFFFFF"/>
            </a:solidFill>
            <a:prstDash val="solid"/>
            <a:round/>
            <a:headEnd type="none" w="med" len="med"/>
            <a:tailEnd type="none" w="med" len="med"/>
          </a:ln>
          <a:effectLst/>
        </p:spPr>
        <p:txBody>
          <a:bodyPr/>
          <a:lstStyle/>
          <a:p>
            <a:pPr>
              <a:defRPr/>
            </a:pPr>
            <a:endParaRPr lang="en-US" kern="0">
              <a:solidFill>
                <a:prstClr val="black"/>
              </a:solidFill>
            </a:endParaRPr>
          </a:p>
        </p:txBody>
      </p:sp>
      <p:sp>
        <p:nvSpPr>
          <p:cNvPr id="9" name="Freeform 13">
            <a:extLst>
              <a:ext uri="{FF2B5EF4-FFF2-40B4-BE49-F238E27FC236}">
                <a16:creationId xmlns:a16="http://schemas.microsoft.com/office/drawing/2014/main" id="{9918C3B7-7D06-9526-16D0-0070F6FFDAA5}"/>
              </a:ext>
            </a:extLst>
          </p:cNvPr>
          <p:cNvSpPr>
            <a:spLocks/>
          </p:cNvSpPr>
          <p:nvPr/>
        </p:nvSpPr>
        <p:spPr bwMode="auto">
          <a:xfrm>
            <a:off x="7719811" y="2359625"/>
            <a:ext cx="2040253" cy="1410774"/>
          </a:xfrm>
          <a:custGeom>
            <a:avLst/>
            <a:gdLst/>
            <a:ahLst/>
            <a:cxnLst>
              <a:cxn ang="0">
                <a:pos x="772" y="524"/>
              </a:cxn>
              <a:cxn ang="0">
                <a:pos x="2053" y="679"/>
              </a:cxn>
              <a:cxn ang="0">
                <a:pos x="314" y="337"/>
              </a:cxn>
              <a:cxn ang="0">
                <a:pos x="36" y="1202"/>
              </a:cxn>
              <a:cxn ang="0">
                <a:pos x="560" y="1415"/>
              </a:cxn>
              <a:cxn ang="0">
                <a:pos x="772" y="524"/>
              </a:cxn>
            </a:cxnLst>
            <a:rect l="0" t="0" r="r" b="b"/>
            <a:pathLst>
              <a:path w="2053" h="1415">
                <a:moveTo>
                  <a:pt x="772" y="524"/>
                </a:moveTo>
                <a:cubicBezTo>
                  <a:pt x="1078" y="267"/>
                  <a:pt x="1591" y="346"/>
                  <a:pt x="2053" y="679"/>
                </a:cubicBezTo>
                <a:cubicBezTo>
                  <a:pt x="1431" y="160"/>
                  <a:pt x="717" y="0"/>
                  <a:pt x="314" y="337"/>
                </a:cubicBezTo>
                <a:cubicBezTo>
                  <a:pt x="89" y="527"/>
                  <a:pt x="0" y="839"/>
                  <a:pt x="36" y="1202"/>
                </a:cubicBezTo>
                <a:cubicBezTo>
                  <a:pt x="560" y="1415"/>
                  <a:pt x="560" y="1415"/>
                  <a:pt x="560" y="1415"/>
                </a:cubicBezTo>
                <a:cubicBezTo>
                  <a:pt x="479" y="1047"/>
                  <a:pt x="545" y="714"/>
                  <a:pt x="772" y="524"/>
                </a:cubicBezTo>
                <a:close/>
              </a:path>
            </a:pathLst>
          </a:custGeom>
          <a:solidFill>
            <a:srgbClr val="801619"/>
          </a:solidFill>
          <a:ln w="12700" cap="flat" cmpd="sng">
            <a:solidFill>
              <a:schemeClr val="bg1"/>
            </a:solidFill>
            <a:prstDash val="solid"/>
            <a:round/>
            <a:headEnd type="none" w="med" len="med"/>
            <a:tailEnd type="none" w="med" len="med"/>
          </a:ln>
          <a:effectLst/>
        </p:spPr>
        <p:txBody>
          <a:bodyPr/>
          <a:lstStyle/>
          <a:p>
            <a:endParaRPr lang="en-US"/>
          </a:p>
        </p:txBody>
      </p:sp>
      <p:sp>
        <p:nvSpPr>
          <p:cNvPr id="10" name="Freeform 11">
            <a:extLst>
              <a:ext uri="{FF2B5EF4-FFF2-40B4-BE49-F238E27FC236}">
                <a16:creationId xmlns:a16="http://schemas.microsoft.com/office/drawing/2014/main" id="{88D26A60-CB2E-B0D0-4A22-4E6C56ABB77E}"/>
              </a:ext>
            </a:extLst>
          </p:cNvPr>
          <p:cNvSpPr>
            <a:spLocks/>
          </p:cNvSpPr>
          <p:nvPr/>
        </p:nvSpPr>
        <p:spPr bwMode="auto">
          <a:xfrm>
            <a:off x="9342879" y="2834820"/>
            <a:ext cx="602325" cy="281414"/>
          </a:xfrm>
          <a:custGeom>
            <a:avLst/>
            <a:gdLst/>
            <a:ahLst/>
            <a:cxnLst>
              <a:cxn ang="0">
                <a:pos x="0" y="1897"/>
              </a:cxn>
              <a:cxn ang="0">
                <a:pos x="5303" y="3168"/>
              </a:cxn>
              <a:cxn ang="0">
                <a:pos x="3277" y="0"/>
              </a:cxn>
              <a:cxn ang="0">
                <a:pos x="0" y="1897"/>
              </a:cxn>
            </a:cxnLst>
            <a:rect l="0" t="0" r="r" b="b"/>
            <a:pathLst>
              <a:path w="5303" h="3168">
                <a:moveTo>
                  <a:pt x="0" y="1897"/>
                </a:moveTo>
                <a:lnTo>
                  <a:pt x="5303" y="3168"/>
                </a:lnTo>
                <a:lnTo>
                  <a:pt x="3277" y="0"/>
                </a:lnTo>
                <a:lnTo>
                  <a:pt x="0" y="1897"/>
                </a:lnTo>
                <a:close/>
              </a:path>
            </a:pathLst>
          </a:custGeom>
          <a:solidFill>
            <a:srgbClr val="801619"/>
          </a:solidFill>
          <a:ln w="12700" cap="flat" cmpd="sng">
            <a:solidFill>
              <a:schemeClr val="bg1"/>
            </a:solidFill>
            <a:prstDash val="solid"/>
            <a:round/>
            <a:headEnd type="none" w="med" len="med"/>
            <a:tailEnd type="none" w="med" len="med"/>
          </a:ln>
          <a:effectLst/>
        </p:spPr>
        <p:txBody>
          <a:bodyPr/>
          <a:lstStyle/>
          <a:p>
            <a:endParaRPr lang="en-US"/>
          </a:p>
        </p:txBody>
      </p:sp>
      <p:sp>
        <p:nvSpPr>
          <p:cNvPr id="11" name="Rectangle 16">
            <a:extLst>
              <a:ext uri="{FF2B5EF4-FFF2-40B4-BE49-F238E27FC236}">
                <a16:creationId xmlns:a16="http://schemas.microsoft.com/office/drawing/2014/main" id="{BCDA7BBF-1688-6CF4-9AAC-11A34A7BD292}"/>
              </a:ext>
            </a:extLst>
          </p:cNvPr>
          <p:cNvSpPr>
            <a:spLocks noChangeArrowheads="1"/>
          </p:cNvSpPr>
          <p:nvPr/>
        </p:nvSpPr>
        <p:spPr bwMode="gray">
          <a:xfrm>
            <a:off x="1843089" y="1873251"/>
            <a:ext cx="4179887" cy="331788"/>
          </a:xfrm>
          <a:prstGeom prst="rect">
            <a:avLst/>
          </a:prstGeom>
          <a:solidFill>
            <a:srgbClr val="801619"/>
          </a:solidFill>
          <a:ln w="12700" algn="ctr">
            <a:solidFill>
              <a:srgbClr val="B2B2B2"/>
            </a:solidFill>
            <a:miter lim="800000"/>
            <a:headEnd/>
            <a:tailEnd/>
          </a:ln>
          <a:effectLst>
            <a:outerShdw dist="53882" dir="2700000" algn="ctr" rotWithShape="0">
              <a:srgbClr val="808080">
                <a:alpha val="50000"/>
              </a:srgbClr>
            </a:outerShdw>
          </a:effectLst>
        </p:spPr>
        <p:txBody>
          <a:bodyPr lIns="288000" tIns="0" rIns="0" bIns="0" anchor="ctr"/>
          <a:lstStyle/>
          <a:p>
            <a:pPr defTabSz="801688"/>
            <a:r>
              <a:rPr lang="en-US" sz="1400" b="1" dirty="0">
                <a:solidFill>
                  <a:schemeClr val="bg1"/>
                </a:solidFill>
              </a:rPr>
              <a:t>Strategic Orientation</a:t>
            </a:r>
            <a:endParaRPr lang="en-US" sz="1400" b="1" dirty="0">
              <a:solidFill>
                <a:schemeClr val="bg1"/>
              </a:solidFill>
              <a:cs typeface="Arial" charset="0"/>
            </a:endParaRPr>
          </a:p>
        </p:txBody>
      </p:sp>
      <p:sp>
        <p:nvSpPr>
          <p:cNvPr id="12" name="Rectangle 19">
            <a:extLst>
              <a:ext uri="{FF2B5EF4-FFF2-40B4-BE49-F238E27FC236}">
                <a16:creationId xmlns:a16="http://schemas.microsoft.com/office/drawing/2014/main" id="{FEA4B2EF-B146-8396-47D7-A23EE6B2EC7C}"/>
              </a:ext>
            </a:extLst>
          </p:cNvPr>
          <p:cNvSpPr>
            <a:spLocks noChangeArrowheads="1"/>
          </p:cNvSpPr>
          <p:nvPr/>
        </p:nvSpPr>
        <p:spPr bwMode="gray">
          <a:xfrm>
            <a:off x="1843088" y="2205038"/>
            <a:ext cx="4176712" cy="1153319"/>
          </a:xfrm>
          <a:prstGeom prst="rect">
            <a:avLst/>
          </a:prstGeom>
          <a:gradFill rotWithShape="1">
            <a:gsLst>
              <a:gs pos="0">
                <a:srgbClr val="FFFFFF"/>
              </a:gs>
              <a:gs pos="100000">
                <a:srgbClr val="EAEAEA"/>
              </a:gs>
            </a:gsLst>
            <a:lin ang="5400000" scaled="1"/>
          </a:gradFill>
          <a:ln w="12700" algn="ctr">
            <a:solidFill>
              <a:srgbClr val="B2B2B2"/>
            </a:solidFill>
            <a:miter lim="800000"/>
            <a:headEnd/>
            <a:tailEnd/>
          </a:ln>
          <a:effectLst>
            <a:outerShdw blurRad="50800" dist="53882" dir="2700000" algn="ctr" rotWithShape="0">
              <a:srgbClr val="808080">
                <a:alpha val="65000"/>
              </a:srgbClr>
            </a:outerShdw>
          </a:effectLst>
        </p:spPr>
        <p:txBody>
          <a:bodyPr lIns="108000" tIns="108000" rIns="144000" bIns="72000"/>
          <a:lstStyle/>
          <a:p>
            <a:pPr marL="190500" indent="-190500">
              <a:lnSpc>
                <a:spcPct val="80000"/>
              </a:lnSpc>
              <a:spcAft>
                <a:spcPts val="200"/>
              </a:spcAft>
              <a:buClr>
                <a:srgbClr val="292929"/>
              </a:buClr>
              <a:buFont typeface="Wingdings" pitchFamily="2" charset="2"/>
              <a:buChar char="§"/>
            </a:pPr>
            <a:r>
              <a:rPr lang="en-US" sz="1200" dirty="0">
                <a:cs typeface="Arial" charset="0"/>
              </a:rPr>
              <a:t>Ensure that the SEMS is compatible with the strategic orientation of the organization.</a:t>
            </a:r>
          </a:p>
          <a:p>
            <a:pPr marL="190500" indent="-190500">
              <a:lnSpc>
                <a:spcPct val="80000"/>
              </a:lnSpc>
              <a:spcBef>
                <a:spcPts val="300"/>
              </a:spcBef>
              <a:buClr>
                <a:srgbClr val="292929"/>
              </a:buClr>
              <a:buFont typeface="Wingdings" pitchFamily="2" charset="2"/>
              <a:buChar char="§"/>
            </a:pPr>
            <a:r>
              <a:rPr lang="en-US" sz="1200" dirty="0">
                <a:cs typeface="Arial" charset="0"/>
              </a:rPr>
              <a:t>Integrate the SEMS requirements into the organization’s business processes. </a:t>
            </a:r>
          </a:p>
        </p:txBody>
      </p:sp>
      <p:sp>
        <p:nvSpPr>
          <p:cNvPr id="13" name="Rectangle 17">
            <a:extLst>
              <a:ext uri="{FF2B5EF4-FFF2-40B4-BE49-F238E27FC236}">
                <a16:creationId xmlns:a16="http://schemas.microsoft.com/office/drawing/2014/main" id="{202DC442-FBAD-E5DE-FAA0-E3C349C24370}"/>
              </a:ext>
            </a:extLst>
          </p:cNvPr>
          <p:cNvSpPr>
            <a:spLocks noChangeArrowheads="1"/>
          </p:cNvSpPr>
          <p:nvPr/>
        </p:nvSpPr>
        <p:spPr bwMode="gray">
          <a:xfrm>
            <a:off x="1843088" y="3890722"/>
            <a:ext cx="4176712" cy="863600"/>
          </a:xfrm>
          <a:prstGeom prst="rect">
            <a:avLst/>
          </a:prstGeom>
          <a:gradFill rotWithShape="1">
            <a:gsLst>
              <a:gs pos="0">
                <a:srgbClr val="FFFFFF"/>
              </a:gs>
              <a:gs pos="100000">
                <a:srgbClr val="EAEAEA"/>
              </a:gs>
            </a:gsLst>
            <a:lin ang="5400000" scaled="1"/>
          </a:gradFill>
          <a:ln w="12700" algn="ctr">
            <a:solidFill>
              <a:srgbClr val="B2B2B2"/>
            </a:solidFill>
            <a:miter lim="800000"/>
            <a:headEnd/>
            <a:tailEnd/>
          </a:ln>
          <a:effectLst>
            <a:outerShdw blurRad="50800" dist="53882" dir="2700000" algn="ctr" rotWithShape="0">
              <a:srgbClr val="808080">
                <a:alpha val="65000"/>
              </a:srgbClr>
            </a:outerShdw>
          </a:effectLst>
        </p:spPr>
        <p:txBody>
          <a:bodyPr lIns="108000" tIns="108000" rIns="144000" bIns="72000"/>
          <a:lstStyle/>
          <a:p>
            <a:pPr marL="190500" indent="-190500">
              <a:lnSpc>
                <a:spcPct val="95000"/>
              </a:lnSpc>
              <a:spcAft>
                <a:spcPct val="40000"/>
              </a:spcAft>
              <a:buClr>
                <a:srgbClr val="292929"/>
              </a:buClr>
              <a:buFont typeface="Wingdings" pitchFamily="2" charset="2"/>
              <a:buChar char="§"/>
            </a:pPr>
            <a:r>
              <a:rPr lang="en-US" sz="1200" dirty="0">
                <a:cs typeface="Arial" charset="0"/>
              </a:rPr>
              <a:t>Management shall determine and provide the necessary resources for the SEMS.</a:t>
            </a:r>
          </a:p>
        </p:txBody>
      </p:sp>
      <p:sp>
        <p:nvSpPr>
          <p:cNvPr id="14" name="Rectangle 18">
            <a:extLst>
              <a:ext uri="{FF2B5EF4-FFF2-40B4-BE49-F238E27FC236}">
                <a16:creationId xmlns:a16="http://schemas.microsoft.com/office/drawing/2014/main" id="{3148FD20-333A-59D6-5B92-8BEF566AB1B7}"/>
              </a:ext>
            </a:extLst>
          </p:cNvPr>
          <p:cNvSpPr>
            <a:spLocks noChangeArrowheads="1"/>
          </p:cNvSpPr>
          <p:nvPr/>
        </p:nvSpPr>
        <p:spPr bwMode="gray">
          <a:xfrm>
            <a:off x="1843088" y="5278751"/>
            <a:ext cx="4176712" cy="1017587"/>
          </a:xfrm>
          <a:prstGeom prst="rect">
            <a:avLst/>
          </a:prstGeom>
          <a:gradFill rotWithShape="1">
            <a:gsLst>
              <a:gs pos="0">
                <a:srgbClr val="FFFFFF"/>
              </a:gs>
              <a:gs pos="100000">
                <a:srgbClr val="EAEAEA"/>
              </a:gs>
            </a:gsLst>
            <a:lin ang="5400000" scaled="1"/>
          </a:gradFill>
          <a:ln w="12700" algn="ctr">
            <a:solidFill>
              <a:srgbClr val="B2B2B2"/>
            </a:solidFill>
            <a:miter lim="800000"/>
            <a:headEnd/>
            <a:tailEnd/>
          </a:ln>
          <a:effectLst>
            <a:outerShdw blurRad="50800" dist="53882" dir="2700000" algn="ctr" rotWithShape="0">
              <a:srgbClr val="808080">
                <a:alpha val="65000"/>
              </a:srgbClr>
            </a:outerShdw>
          </a:effectLst>
        </p:spPr>
        <p:txBody>
          <a:bodyPr lIns="108000" tIns="108000" rIns="144000" bIns="72000"/>
          <a:lstStyle/>
          <a:p>
            <a:pPr marL="190500" indent="-190500">
              <a:lnSpc>
                <a:spcPct val="95000"/>
              </a:lnSpc>
              <a:spcAft>
                <a:spcPct val="40000"/>
              </a:spcAft>
              <a:buClr>
                <a:srgbClr val="292929"/>
              </a:buClr>
              <a:buFont typeface="Wingdings" pitchFamily="2" charset="2"/>
              <a:buChar char="§"/>
            </a:pPr>
            <a:r>
              <a:rPr lang="en-US" sz="1200" dirty="0">
                <a:cs typeface="Arial" charset="0"/>
              </a:rPr>
              <a:t>Management shall communicate the importance of effective Environmental Management and conformance to the SEMS processes.</a:t>
            </a:r>
          </a:p>
        </p:txBody>
      </p:sp>
      <p:sp>
        <p:nvSpPr>
          <p:cNvPr id="15" name="Rectangle 21">
            <a:extLst>
              <a:ext uri="{FF2B5EF4-FFF2-40B4-BE49-F238E27FC236}">
                <a16:creationId xmlns:a16="http://schemas.microsoft.com/office/drawing/2014/main" id="{25710FAD-CB92-BD8D-8F56-CF2E3876E343}"/>
              </a:ext>
            </a:extLst>
          </p:cNvPr>
          <p:cNvSpPr>
            <a:spLocks noChangeArrowheads="1"/>
          </p:cNvSpPr>
          <p:nvPr/>
        </p:nvSpPr>
        <p:spPr bwMode="gray">
          <a:xfrm>
            <a:off x="1843089" y="4931882"/>
            <a:ext cx="4176712" cy="346870"/>
          </a:xfrm>
          <a:prstGeom prst="rect">
            <a:avLst/>
          </a:prstGeom>
          <a:solidFill>
            <a:schemeClr val="accent1">
              <a:lumMod val="60000"/>
              <a:lumOff val="40000"/>
            </a:schemeClr>
          </a:solidFill>
          <a:ln w="12700" algn="ctr">
            <a:solidFill>
              <a:srgbClr val="B2B2B2"/>
            </a:solidFill>
            <a:miter lim="800000"/>
            <a:headEnd/>
            <a:tailEnd/>
          </a:ln>
          <a:effectLst>
            <a:outerShdw dist="53882" dir="2700000" algn="ctr" rotWithShape="0">
              <a:srgbClr val="808080">
                <a:alpha val="50000"/>
              </a:srgbClr>
            </a:outerShdw>
          </a:effectLst>
        </p:spPr>
        <p:txBody>
          <a:bodyPr lIns="288000" tIns="0" rIns="0" bIns="0" anchor="ctr"/>
          <a:lstStyle/>
          <a:p>
            <a:pPr defTabSz="801688">
              <a:defRPr/>
            </a:pPr>
            <a:r>
              <a:rPr lang="en-US" sz="1400" b="1" kern="0">
                <a:solidFill>
                  <a:srgbClr val="FFFFFF"/>
                </a:solidFill>
                <a:cs typeface="Arial" charset="0"/>
              </a:rPr>
              <a:t>Communication</a:t>
            </a:r>
          </a:p>
        </p:txBody>
      </p:sp>
      <p:sp>
        <p:nvSpPr>
          <p:cNvPr id="18" name="Title 1">
            <a:extLst>
              <a:ext uri="{FF2B5EF4-FFF2-40B4-BE49-F238E27FC236}">
                <a16:creationId xmlns:a16="http://schemas.microsoft.com/office/drawing/2014/main" id="{036D00E1-001B-33A1-4E8F-D879D05C0D12}"/>
              </a:ext>
            </a:extLst>
          </p:cNvPr>
          <p:cNvSpPr txBox="1">
            <a:spLocks/>
          </p:cNvSpPr>
          <p:nvPr>
            <p:custDataLst>
              <p:tags r:id="rId1"/>
            </p:custDataLst>
          </p:nvPr>
        </p:nvSpPr>
        <p:spPr>
          <a:xfrm>
            <a:off x="767049" y="788105"/>
            <a:ext cx="10972800" cy="568674"/>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cs typeface="Arial" charset="0"/>
              </a:rPr>
              <a:t>Leadership and Management Commitment</a:t>
            </a:r>
          </a:p>
        </p:txBody>
      </p:sp>
    </p:spTree>
    <p:extLst>
      <p:ext uri="{BB962C8B-B14F-4D97-AF65-F5344CB8AC3E}">
        <p14:creationId xmlns:p14="http://schemas.microsoft.com/office/powerpoint/2010/main" val="345180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250" fill="hold"/>
                                        <p:tgtEl>
                                          <p:spTgt spid="18"/>
                                        </p:tgtEl>
                                        <p:attrNameLst>
                                          <p:attrName>ppt_x</p:attrName>
                                        </p:attrNameLst>
                                      </p:cBhvr>
                                      <p:tavLst>
                                        <p:tav tm="0">
                                          <p:val>
                                            <p:strVal val="#ppt_x"/>
                                          </p:val>
                                        </p:tav>
                                        <p:tav tm="100000">
                                          <p:val>
                                            <p:strVal val="#ppt_x"/>
                                          </p:val>
                                        </p:tav>
                                      </p:tavLst>
                                    </p:anim>
                                    <p:anim calcmode="lin" valueType="num">
                                      <p:cBhvr additive="base">
                                        <p:cTn id="8" dur="1250" fill="hold"/>
                                        <p:tgtEl>
                                          <p:spTgt spid="18"/>
                                        </p:tgtEl>
                                        <p:attrNameLst>
                                          <p:attrName>ppt_y</p:attrName>
                                        </p:attrNameLst>
                                      </p:cBhvr>
                                      <p:tavLst>
                                        <p:tav tm="0">
                                          <p:val>
                                            <p:strVal val="0-#ppt_h/2"/>
                                          </p:val>
                                        </p:tav>
                                        <p:tav tm="100000">
                                          <p:val>
                                            <p:strVal val="#ppt_y"/>
                                          </p:val>
                                        </p:tav>
                                      </p:tavLst>
                                    </p:anim>
                                  </p:childTnLst>
                                </p:cTn>
                              </p:par>
                              <p:par>
                                <p:cTn id="9" presetID="42" presetClass="entr" presetSubtype="0" fill="hold" grpId="0" nodeType="withEffect">
                                  <p:stCondLst>
                                    <p:cond delay="10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anim calcmode="lin" valueType="num">
                                      <p:cBhvr>
                                        <p:cTn id="12" dur="1000" fill="hold"/>
                                        <p:tgtEl>
                                          <p:spTgt spid="11"/>
                                        </p:tgtEl>
                                        <p:attrNameLst>
                                          <p:attrName>ppt_x</p:attrName>
                                        </p:attrNameLst>
                                      </p:cBhvr>
                                      <p:tavLst>
                                        <p:tav tm="0">
                                          <p:val>
                                            <p:strVal val="#ppt_x"/>
                                          </p:val>
                                        </p:tav>
                                        <p:tav tm="100000">
                                          <p:val>
                                            <p:strVal val="#ppt_x"/>
                                          </p:val>
                                        </p:tav>
                                      </p:tavLst>
                                    </p:anim>
                                    <p:anim calcmode="lin" valueType="num">
                                      <p:cBhvr>
                                        <p:cTn id="13" dur="1000" fill="hold"/>
                                        <p:tgtEl>
                                          <p:spTgt spid="11"/>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10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1000"/>
                                        <p:tgtEl>
                                          <p:spTgt spid="12"/>
                                        </p:tgtEl>
                                      </p:cBhvr>
                                    </p:animEffect>
                                    <p:anim calcmode="lin" valueType="num">
                                      <p:cBhvr>
                                        <p:cTn id="17" dur="1000" fill="hold"/>
                                        <p:tgtEl>
                                          <p:spTgt spid="12"/>
                                        </p:tgtEl>
                                        <p:attrNameLst>
                                          <p:attrName>ppt_x</p:attrName>
                                        </p:attrNameLst>
                                      </p:cBhvr>
                                      <p:tavLst>
                                        <p:tav tm="0">
                                          <p:val>
                                            <p:strVal val="#ppt_x"/>
                                          </p:val>
                                        </p:tav>
                                        <p:tav tm="100000">
                                          <p:val>
                                            <p:strVal val="#ppt_x"/>
                                          </p:val>
                                        </p:tav>
                                      </p:tavLst>
                                    </p:anim>
                                    <p:anim calcmode="lin" valueType="num">
                                      <p:cBhvr>
                                        <p:cTn id="18" dur="1000" fill="hold"/>
                                        <p:tgtEl>
                                          <p:spTgt spid="12"/>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100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100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anim calcmode="lin" valueType="num">
                                      <p:cBhvr>
                                        <p:cTn id="27" dur="1000" fill="hold"/>
                                        <p:tgtEl>
                                          <p:spTgt spid="5"/>
                                        </p:tgtEl>
                                        <p:attrNameLst>
                                          <p:attrName>ppt_x</p:attrName>
                                        </p:attrNameLst>
                                      </p:cBhvr>
                                      <p:tavLst>
                                        <p:tav tm="0">
                                          <p:val>
                                            <p:strVal val="#ppt_x"/>
                                          </p:val>
                                        </p:tav>
                                        <p:tav tm="100000">
                                          <p:val>
                                            <p:strVal val="#ppt_x"/>
                                          </p:val>
                                        </p:tav>
                                      </p:tavLst>
                                    </p:anim>
                                    <p:anim calcmode="lin" valueType="num">
                                      <p:cBhvr>
                                        <p:cTn id="28" dur="1000" fill="hold"/>
                                        <p:tgtEl>
                                          <p:spTgt spid="5"/>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10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1000"/>
                                        <p:tgtEl>
                                          <p:spTgt spid="14"/>
                                        </p:tgtEl>
                                      </p:cBhvr>
                                    </p:animEffect>
                                    <p:anim calcmode="lin" valueType="num">
                                      <p:cBhvr>
                                        <p:cTn id="37" dur="1000" fill="hold"/>
                                        <p:tgtEl>
                                          <p:spTgt spid="14"/>
                                        </p:tgtEl>
                                        <p:attrNameLst>
                                          <p:attrName>ppt_x</p:attrName>
                                        </p:attrNameLst>
                                      </p:cBhvr>
                                      <p:tavLst>
                                        <p:tav tm="0">
                                          <p:val>
                                            <p:strVal val="#ppt_x"/>
                                          </p:val>
                                        </p:tav>
                                        <p:tav tm="100000">
                                          <p:val>
                                            <p:strVal val="#ppt_x"/>
                                          </p:val>
                                        </p:tav>
                                      </p:tavLst>
                                    </p:anim>
                                    <p:anim calcmode="lin" valueType="num">
                                      <p:cBhvr>
                                        <p:cTn id="38" dur="1000" fill="hold"/>
                                        <p:tgtEl>
                                          <p:spTgt spid="14"/>
                                        </p:tgtEl>
                                        <p:attrNameLst>
                                          <p:attrName>ppt_y</p:attrName>
                                        </p:attrNameLst>
                                      </p:cBhvr>
                                      <p:tavLst>
                                        <p:tav tm="0">
                                          <p:val>
                                            <p:strVal val="#ppt_y+.1"/>
                                          </p:val>
                                        </p:tav>
                                        <p:tav tm="100000">
                                          <p:val>
                                            <p:strVal val="#ppt_y"/>
                                          </p:val>
                                        </p:tav>
                                      </p:tavLst>
                                    </p:anim>
                                  </p:childTnLst>
                                </p:cTn>
                              </p:par>
                              <p:par>
                                <p:cTn id="39" presetID="2" presetClass="entr" presetSubtype="2" fill="hold" grpId="0" nodeType="withEffect">
                                  <p:stCondLst>
                                    <p:cond delay="1000"/>
                                  </p:stCondLst>
                                  <p:childTnLst>
                                    <p:set>
                                      <p:cBhvr>
                                        <p:cTn id="40" dur="1" fill="hold">
                                          <p:stCondLst>
                                            <p:cond delay="0"/>
                                          </p:stCondLst>
                                        </p:cTn>
                                        <p:tgtEl>
                                          <p:spTgt spid="6"/>
                                        </p:tgtEl>
                                        <p:attrNameLst>
                                          <p:attrName>style.visibility</p:attrName>
                                        </p:attrNameLst>
                                      </p:cBhvr>
                                      <p:to>
                                        <p:strVal val="visible"/>
                                      </p:to>
                                    </p:set>
                                    <p:anim calcmode="lin" valueType="num">
                                      <p:cBhvr additive="base">
                                        <p:cTn id="41" dur="1000" fill="hold"/>
                                        <p:tgtEl>
                                          <p:spTgt spid="6"/>
                                        </p:tgtEl>
                                        <p:attrNameLst>
                                          <p:attrName>ppt_x</p:attrName>
                                        </p:attrNameLst>
                                      </p:cBhvr>
                                      <p:tavLst>
                                        <p:tav tm="0">
                                          <p:val>
                                            <p:strVal val="1+#ppt_w/2"/>
                                          </p:val>
                                        </p:tav>
                                        <p:tav tm="100000">
                                          <p:val>
                                            <p:strVal val="#ppt_x"/>
                                          </p:val>
                                        </p:tav>
                                      </p:tavLst>
                                    </p:anim>
                                    <p:anim calcmode="lin" valueType="num">
                                      <p:cBhvr additive="base">
                                        <p:cTn id="42" dur="1000" fill="hold"/>
                                        <p:tgtEl>
                                          <p:spTgt spid="6"/>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1000"/>
                                  </p:stCondLst>
                                  <p:childTnLst>
                                    <p:set>
                                      <p:cBhvr>
                                        <p:cTn id="44" dur="1" fill="hold">
                                          <p:stCondLst>
                                            <p:cond delay="0"/>
                                          </p:stCondLst>
                                        </p:cTn>
                                        <p:tgtEl>
                                          <p:spTgt spid="8"/>
                                        </p:tgtEl>
                                        <p:attrNameLst>
                                          <p:attrName>style.visibility</p:attrName>
                                        </p:attrNameLst>
                                      </p:cBhvr>
                                      <p:to>
                                        <p:strVal val="visible"/>
                                      </p:to>
                                    </p:set>
                                    <p:anim calcmode="lin" valueType="num">
                                      <p:cBhvr additive="base">
                                        <p:cTn id="45" dur="1000" fill="hold"/>
                                        <p:tgtEl>
                                          <p:spTgt spid="8"/>
                                        </p:tgtEl>
                                        <p:attrNameLst>
                                          <p:attrName>ppt_x</p:attrName>
                                        </p:attrNameLst>
                                      </p:cBhvr>
                                      <p:tavLst>
                                        <p:tav tm="0">
                                          <p:val>
                                            <p:strVal val="1+#ppt_w/2"/>
                                          </p:val>
                                        </p:tav>
                                        <p:tav tm="100000">
                                          <p:val>
                                            <p:strVal val="#ppt_x"/>
                                          </p:val>
                                        </p:tav>
                                      </p:tavLst>
                                    </p:anim>
                                    <p:anim calcmode="lin" valueType="num">
                                      <p:cBhvr additive="base">
                                        <p:cTn id="46" dur="1000" fill="hold"/>
                                        <p:tgtEl>
                                          <p:spTgt spid="8"/>
                                        </p:tgtEl>
                                        <p:attrNameLst>
                                          <p:attrName>ppt_y</p:attrName>
                                        </p:attrNameLst>
                                      </p:cBhvr>
                                      <p:tavLst>
                                        <p:tav tm="0">
                                          <p:val>
                                            <p:strVal val="#ppt_y"/>
                                          </p:val>
                                        </p:tav>
                                        <p:tav tm="100000">
                                          <p:val>
                                            <p:strVal val="#ppt_y"/>
                                          </p:val>
                                        </p:tav>
                                      </p:tavLst>
                                    </p:anim>
                                  </p:childTnLst>
                                </p:cTn>
                              </p:par>
                              <p:par>
                                <p:cTn id="47" presetID="2" presetClass="entr" presetSubtype="2" fill="hold" grpId="0" nodeType="withEffect">
                                  <p:stCondLst>
                                    <p:cond delay="1000"/>
                                  </p:stCondLst>
                                  <p:childTnLst>
                                    <p:set>
                                      <p:cBhvr>
                                        <p:cTn id="48" dur="1" fill="hold">
                                          <p:stCondLst>
                                            <p:cond delay="0"/>
                                          </p:stCondLst>
                                        </p:cTn>
                                        <p:tgtEl>
                                          <p:spTgt spid="7"/>
                                        </p:tgtEl>
                                        <p:attrNameLst>
                                          <p:attrName>style.visibility</p:attrName>
                                        </p:attrNameLst>
                                      </p:cBhvr>
                                      <p:to>
                                        <p:strVal val="visible"/>
                                      </p:to>
                                    </p:set>
                                    <p:anim calcmode="lin" valueType="num">
                                      <p:cBhvr additive="base">
                                        <p:cTn id="49" dur="1000" fill="hold"/>
                                        <p:tgtEl>
                                          <p:spTgt spid="7"/>
                                        </p:tgtEl>
                                        <p:attrNameLst>
                                          <p:attrName>ppt_x</p:attrName>
                                        </p:attrNameLst>
                                      </p:cBhvr>
                                      <p:tavLst>
                                        <p:tav tm="0">
                                          <p:val>
                                            <p:strVal val="1+#ppt_w/2"/>
                                          </p:val>
                                        </p:tav>
                                        <p:tav tm="100000">
                                          <p:val>
                                            <p:strVal val="#ppt_x"/>
                                          </p:val>
                                        </p:tav>
                                      </p:tavLst>
                                    </p:anim>
                                    <p:anim calcmode="lin" valueType="num">
                                      <p:cBhvr additive="base">
                                        <p:cTn id="50" dur="1000" fill="hold"/>
                                        <p:tgtEl>
                                          <p:spTgt spid="7"/>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1000"/>
                                  </p:stCondLst>
                                  <p:childTnLst>
                                    <p:set>
                                      <p:cBhvr>
                                        <p:cTn id="52" dur="1" fill="hold">
                                          <p:stCondLst>
                                            <p:cond delay="0"/>
                                          </p:stCondLst>
                                        </p:cTn>
                                        <p:tgtEl>
                                          <p:spTgt spid="9"/>
                                        </p:tgtEl>
                                        <p:attrNameLst>
                                          <p:attrName>style.visibility</p:attrName>
                                        </p:attrNameLst>
                                      </p:cBhvr>
                                      <p:to>
                                        <p:strVal val="visible"/>
                                      </p:to>
                                    </p:set>
                                    <p:anim calcmode="lin" valueType="num">
                                      <p:cBhvr additive="base">
                                        <p:cTn id="53" dur="1000" fill="hold"/>
                                        <p:tgtEl>
                                          <p:spTgt spid="9"/>
                                        </p:tgtEl>
                                        <p:attrNameLst>
                                          <p:attrName>ppt_x</p:attrName>
                                        </p:attrNameLst>
                                      </p:cBhvr>
                                      <p:tavLst>
                                        <p:tav tm="0">
                                          <p:val>
                                            <p:strVal val="1+#ppt_w/2"/>
                                          </p:val>
                                        </p:tav>
                                        <p:tav tm="100000">
                                          <p:val>
                                            <p:strVal val="#ppt_x"/>
                                          </p:val>
                                        </p:tav>
                                      </p:tavLst>
                                    </p:anim>
                                    <p:anim calcmode="lin" valueType="num">
                                      <p:cBhvr additive="base">
                                        <p:cTn id="54" dur="1000" fill="hold"/>
                                        <p:tgtEl>
                                          <p:spTgt spid="9"/>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1000"/>
                                  </p:stCondLst>
                                  <p:childTnLst>
                                    <p:set>
                                      <p:cBhvr>
                                        <p:cTn id="56" dur="1" fill="hold">
                                          <p:stCondLst>
                                            <p:cond delay="0"/>
                                          </p:stCondLst>
                                        </p:cTn>
                                        <p:tgtEl>
                                          <p:spTgt spid="10"/>
                                        </p:tgtEl>
                                        <p:attrNameLst>
                                          <p:attrName>style.visibility</p:attrName>
                                        </p:attrNameLst>
                                      </p:cBhvr>
                                      <p:to>
                                        <p:strVal val="visible"/>
                                      </p:to>
                                    </p:set>
                                    <p:anim calcmode="lin" valueType="num">
                                      <p:cBhvr additive="base">
                                        <p:cTn id="57" dur="1000" fill="hold"/>
                                        <p:tgtEl>
                                          <p:spTgt spid="10"/>
                                        </p:tgtEl>
                                        <p:attrNameLst>
                                          <p:attrName>ppt_x</p:attrName>
                                        </p:attrNameLst>
                                      </p:cBhvr>
                                      <p:tavLst>
                                        <p:tav tm="0">
                                          <p:val>
                                            <p:strVal val="1+#ppt_w/2"/>
                                          </p:val>
                                        </p:tav>
                                        <p:tav tm="100000">
                                          <p:val>
                                            <p:strVal val="#ppt_x"/>
                                          </p:val>
                                        </p:tav>
                                      </p:tavLst>
                                    </p:anim>
                                    <p:anim calcmode="lin" valueType="num">
                                      <p:cBhvr additive="base">
                                        <p:cTn id="5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3">
            <a:extLst>
              <a:ext uri="{FF2B5EF4-FFF2-40B4-BE49-F238E27FC236}">
                <a16:creationId xmlns:a16="http://schemas.microsoft.com/office/drawing/2014/main" id="{80C11D49-0D1E-4922-FD3D-FC2BCFAD5F5D}"/>
              </a:ext>
            </a:extLst>
          </p:cNvPr>
          <p:cNvPicPr>
            <a:picLocks noChangeAspect="1" noChangeArrowheads="1"/>
          </p:cNvPicPr>
          <p:nvPr/>
        </p:nvPicPr>
        <p:blipFill>
          <a:blip r:embed="rId5" cstate="print">
            <a:lum bright="18000"/>
          </a:blip>
          <a:srcRect/>
          <a:stretch>
            <a:fillRect/>
          </a:stretch>
        </p:blipFill>
        <p:spPr bwMode="gray">
          <a:xfrm>
            <a:off x="5086083" y="2798206"/>
            <a:ext cx="2576513" cy="665163"/>
          </a:xfrm>
          <a:prstGeom prst="rect">
            <a:avLst/>
          </a:prstGeom>
          <a:noFill/>
        </p:spPr>
      </p:pic>
      <p:pic>
        <p:nvPicPr>
          <p:cNvPr id="9" name="Picture 4">
            <a:extLst>
              <a:ext uri="{FF2B5EF4-FFF2-40B4-BE49-F238E27FC236}">
                <a16:creationId xmlns:a16="http://schemas.microsoft.com/office/drawing/2014/main" id="{EFEA3243-3E5B-58F7-0753-65B3B739C310}"/>
              </a:ext>
            </a:extLst>
          </p:cNvPr>
          <p:cNvPicPr>
            <a:picLocks noChangeAspect="1" noChangeArrowheads="1"/>
          </p:cNvPicPr>
          <p:nvPr/>
        </p:nvPicPr>
        <p:blipFill>
          <a:blip r:embed="rId5" cstate="print">
            <a:lum bright="18000"/>
          </a:blip>
          <a:srcRect/>
          <a:stretch>
            <a:fillRect/>
          </a:stretch>
        </p:blipFill>
        <p:spPr bwMode="gray">
          <a:xfrm>
            <a:off x="3671354" y="2785109"/>
            <a:ext cx="2576513" cy="665163"/>
          </a:xfrm>
          <a:prstGeom prst="rect">
            <a:avLst/>
          </a:prstGeom>
          <a:noFill/>
        </p:spPr>
      </p:pic>
      <p:pic>
        <p:nvPicPr>
          <p:cNvPr id="10" name="Picture 6">
            <a:extLst>
              <a:ext uri="{FF2B5EF4-FFF2-40B4-BE49-F238E27FC236}">
                <a16:creationId xmlns:a16="http://schemas.microsoft.com/office/drawing/2014/main" id="{2B565160-61FC-C6D3-F96E-0A9CF6F53A89}"/>
              </a:ext>
            </a:extLst>
          </p:cNvPr>
          <p:cNvPicPr>
            <a:picLocks noChangeAspect="1" noChangeArrowheads="1"/>
          </p:cNvPicPr>
          <p:nvPr/>
        </p:nvPicPr>
        <p:blipFill>
          <a:blip r:embed="rId5" cstate="print">
            <a:lum bright="18000"/>
          </a:blip>
          <a:srcRect/>
          <a:stretch>
            <a:fillRect/>
          </a:stretch>
        </p:blipFill>
        <p:spPr bwMode="gray">
          <a:xfrm>
            <a:off x="2152910" y="2886633"/>
            <a:ext cx="2576513" cy="665163"/>
          </a:xfrm>
          <a:prstGeom prst="rect">
            <a:avLst/>
          </a:prstGeom>
          <a:noFill/>
        </p:spPr>
      </p:pic>
      <p:grpSp>
        <p:nvGrpSpPr>
          <p:cNvPr id="115" name="Group 114">
            <a:extLst>
              <a:ext uri="{FF2B5EF4-FFF2-40B4-BE49-F238E27FC236}">
                <a16:creationId xmlns:a16="http://schemas.microsoft.com/office/drawing/2014/main" id="{C1A0C40F-7B0F-B6D6-892B-E27A0AA3B8C1}"/>
              </a:ext>
            </a:extLst>
          </p:cNvPr>
          <p:cNvGrpSpPr/>
          <p:nvPr/>
        </p:nvGrpSpPr>
        <p:grpSpPr>
          <a:xfrm>
            <a:off x="1981200" y="1728029"/>
            <a:ext cx="8229600" cy="1785954"/>
            <a:chOff x="2906713" y="1950278"/>
            <a:chExt cx="6913268" cy="1785954"/>
          </a:xfrm>
        </p:grpSpPr>
        <p:pic>
          <p:nvPicPr>
            <p:cNvPr id="8" name="Picture 3">
              <a:extLst>
                <a:ext uri="{FF2B5EF4-FFF2-40B4-BE49-F238E27FC236}">
                  <a16:creationId xmlns:a16="http://schemas.microsoft.com/office/drawing/2014/main" id="{D96DB5D8-48CA-BC58-9BF2-FA6BB64622D1}"/>
                </a:ext>
              </a:extLst>
            </p:cNvPr>
            <p:cNvPicPr>
              <a:picLocks noChangeAspect="1" noChangeArrowheads="1"/>
            </p:cNvPicPr>
            <p:nvPr/>
          </p:nvPicPr>
          <p:blipFill>
            <a:blip r:embed="rId5" cstate="print">
              <a:lum bright="18000"/>
            </a:blip>
            <a:srcRect/>
            <a:stretch>
              <a:fillRect/>
            </a:stretch>
          </p:blipFill>
          <p:spPr bwMode="gray">
            <a:xfrm>
              <a:off x="7243468" y="3071069"/>
              <a:ext cx="2576513" cy="665163"/>
            </a:xfrm>
            <a:prstGeom prst="rect">
              <a:avLst/>
            </a:prstGeom>
            <a:noFill/>
          </p:spPr>
        </p:pic>
        <p:grpSp>
          <p:nvGrpSpPr>
            <p:cNvPr id="11" name="Group 83">
              <a:extLst>
                <a:ext uri="{FF2B5EF4-FFF2-40B4-BE49-F238E27FC236}">
                  <a16:creationId xmlns:a16="http://schemas.microsoft.com/office/drawing/2014/main" id="{3AEF66A7-5344-3DB3-E276-26E455D4DF9B}"/>
                </a:ext>
              </a:extLst>
            </p:cNvPr>
            <p:cNvGrpSpPr>
              <a:grpSpLocks/>
            </p:cNvGrpSpPr>
            <p:nvPr/>
          </p:nvGrpSpPr>
          <p:grpSpPr bwMode="auto">
            <a:xfrm>
              <a:off x="6265862" y="2053465"/>
              <a:ext cx="1370012" cy="1268413"/>
              <a:chOff x="3335" y="1918"/>
              <a:chExt cx="863" cy="799"/>
            </a:xfrm>
          </p:grpSpPr>
          <p:sp>
            <p:nvSpPr>
              <p:cNvPr id="12" name="Freeform 47">
                <a:extLst>
                  <a:ext uri="{FF2B5EF4-FFF2-40B4-BE49-F238E27FC236}">
                    <a16:creationId xmlns:a16="http://schemas.microsoft.com/office/drawing/2014/main" id="{D5348136-9B18-AAB3-3912-A1DF729E24B1}"/>
                  </a:ext>
                </a:extLst>
              </p:cNvPr>
              <p:cNvSpPr>
                <a:spLocks/>
              </p:cNvSpPr>
              <p:nvPr/>
            </p:nvSpPr>
            <p:spPr bwMode="gray">
              <a:xfrm>
                <a:off x="3335" y="1918"/>
                <a:ext cx="723" cy="799"/>
              </a:xfrm>
              <a:custGeom>
                <a:avLst/>
                <a:gdLst/>
                <a:ahLst/>
                <a:cxnLst>
                  <a:cxn ang="0">
                    <a:pos x="723" y="799"/>
                  </a:cxn>
                  <a:cxn ang="0">
                    <a:pos x="723" y="0"/>
                  </a:cxn>
                  <a:cxn ang="0">
                    <a:pos x="0" y="39"/>
                  </a:cxn>
                  <a:cxn ang="0">
                    <a:pos x="0" y="767"/>
                  </a:cxn>
                  <a:cxn ang="0">
                    <a:pos x="723" y="799"/>
                  </a:cxn>
                </a:cxnLst>
                <a:rect l="0" t="0" r="r" b="b"/>
                <a:pathLst>
                  <a:path w="723" h="799">
                    <a:moveTo>
                      <a:pt x="723" y="799"/>
                    </a:moveTo>
                    <a:lnTo>
                      <a:pt x="723" y="0"/>
                    </a:lnTo>
                    <a:lnTo>
                      <a:pt x="0" y="39"/>
                    </a:lnTo>
                    <a:lnTo>
                      <a:pt x="0" y="767"/>
                    </a:lnTo>
                    <a:lnTo>
                      <a:pt x="723" y="799"/>
                    </a:lnTo>
                    <a:close/>
                  </a:path>
                </a:pathLst>
              </a:custGeom>
              <a:gradFill rotWithShape="1">
                <a:gsLst>
                  <a:gs pos="0">
                    <a:srgbClr val="C9C9C9"/>
                  </a:gs>
                  <a:gs pos="100000">
                    <a:srgbClr val="C9C9C9">
                      <a:gamma/>
                      <a:tint val="0"/>
                      <a:invGamma/>
                    </a:srgbClr>
                  </a:gs>
                </a:gsLst>
                <a:lin ang="2700000" scaled="1"/>
              </a:gradFill>
              <a:ln w="9525">
                <a:noFill/>
                <a:round/>
                <a:headEnd/>
                <a:tailEnd/>
              </a:ln>
              <a:effectLst/>
            </p:spPr>
            <p:txBody>
              <a:bodyPr/>
              <a:lstStyle/>
              <a:p>
                <a:endParaRPr lang="fr-FR"/>
              </a:p>
            </p:txBody>
          </p:sp>
          <p:sp>
            <p:nvSpPr>
              <p:cNvPr id="13" name="Freeform 48">
                <a:extLst>
                  <a:ext uri="{FF2B5EF4-FFF2-40B4-BE49-F238E27FC236}">
                    <a16:creationId xmlns:a16="http://schemas.microsoft.com/office/drawing/2014/main" id="{D2C6B657-7D00-11BE-D759-179473710AFC}"/>
                  </a:ext>
                </a:extLst>
              </p:cNvPr>
              <p:cNvSpPr>
                <a:spLocks/>
              </p:cNvSpPr>
              <p:nvPr/>
            </p:nvSpPr>
            <p:spPr bwMode="gray">
              <a:xfrm>
                <a:off x="4058" y="1918"/>
                <a:ext cx="140" cy="799"/>
              </a:xfrm>
              <a:custGeom>
                <a:avLst/>
                <a:gdLst/>
                <a:ahLst/>
                <a:cxnLst>
                  <a:cxn ang="0">
                    <a:pos x="140" y="724"/>
                  </a:cxn>
                  <a:cxn ang="0">
                    <a:pos x="140" y="83"/>
                  </a:cxn>
                  <a:cxn ang="0">
                    <a:pos x="0" y="0"/>
                  </a:cxn>
                  <a:cxn ang="0">
                    <a:pos x="0" y="799"/>
                  </a:cxn>
                  <a:cxn ang="0">
                    <a:pos x="140" y="724"/>
                  </a:cxn>
                </a:cxnLst>
                <a:rect l="0" t="0" r="r" b="b"/>
                <a:pathLst>
                  <a:path w="140" h="799">
                    <a:moveTo>
                      <a:pt x="140" y="724"/>
                    </a:moveTo>
                    <a:lnTo>
                      <a:pt x="140" y="83"/>
                    </a:lnTo>
                    <a:lnTo>
                      <a:pt x="0" y="0"/>
                    </a:lnTo>
                    <a:lnTo>
                      <a:pt x="0" y="799"/>
                    </a:lnTo>
                    <a:lnTo>
                      <a:pt x="140" y="724"/>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14" name="Freeform 49">
                <a:extLst>
                  <a:ext uri="{FF2B5EF4-FFF2-40B4-BE49-F238E27FC236}">
                    <a16:creationId xmlns:a16="http://schemas.microsoft.com/office/drawing/2014/main" id="{187A9D74-D80E-3B29-112E-4E7D589F216A}"/>
                  </a:ext>
                </a:extLst>
              </p:cNvPr>
              <p:cNvSpPr>
                <a:spLocks/>
              </p:cNvSpPr>
              <p:nvPr/>
            </p:nvSpPr>
            <p:spPr bwMode="gray">
              <a:xfrm>
                <a:off x="4058" y="1918"/>
                <a:ext cx="140" cy="89"/>
              </a:xfrm>
              <a:custGeom>
                <a:avLst/>
                <a:gdLst/>
                <a:ahLst/>
                <a:cxnLst>
                  <a:cxn ang="0">
                    <a:pos x="140" y="83"/>
                  </a:cxn>
                  <a:cxn ang="0">
                    <a:pos x="0" y="0"/>
                  </a:cxn>
                  <a:cxn ang="0">
                    <a:pos x="0" y="89"/>
                  </a:cxn>
                  <a:cxn ang="0">
                    <a:pos x="140" y="83"/>
                  </a:cxn>
                </a:cxnLst>
                <a:rect l="0" t="0" r="r" b="b"/>
                <a:pathLst>
                  <a:path w="140" h="89">
                    <a:moveTo>
                      <a:pt x="140" y="83"/>
                    </a:moveTo>
                    <a:lnTo>
                      <a:pt x="0" y="0"/>
                    </a:lnTo>
                    <a:lnTo>
                      <a:pt x="0" y="89"/>
                    </a:lnTo>
                    <a:lnTo>
                      <a:pt x="140" y="83"/>
                    </a:lnTo>
                    <a:close/>
                  </a:path>
                </a:pathLst>
              </a:custGeom>
              <a:solidFill>
                <a:srgbClr val="808080"/>
              </a:solidFill>
              <a:ln w="9525">
                <a:noFill/>
                <a:round/>
                <a:headEnd/>
                <a:tailEnd/>
              </a:ln>
              <a:effectLst/>
            </p:spPr>
            <p:txBody>
              <a:bodyPr/>
              <a:lstStyle/>
              <a:p>
                <a:endParaRPr lang="fr-FR"/>
              </a:p>
            </p:txBody>
          </p:sp>
          <p:sp>
            <p:nvSpPr>
              <p:cNvPr id="15" name="Freeform 50">
                <a:extLst>
                  <a:ext uri="{FF2B5EF4-FFF2-40B4-BE49-F238E27FC236}">
                    <a16:creationId xmlns:a16="http://schemas.microsoft.com/office/drawing/2014/main" id="{01288E2C-7809-682E-11A7-7EFF0E31FA26}"/>
                  </a:ext>
                </a:extLst>
              </p:cNvPr>
              <p:cNvSpPr>
                <a:spLocks/>
              </p:cNvSpPr>
              <p:nvPr/>
            </p:nvSpPr>
            <p:spPr bwMode="gray">
              <a:xfrm>
                <a:off x="3335" y="1918"/>
                <a:ext cx="723" cy="113"/>
              </a:xfrm>
              <a:custGeom>
                <a:avLst/>
                <a:gdLst/>
                <a:ahLst/>
                <a:cxnLst>
                  <a:cxn ang="0">
                    <a:pos x="723" y="0"/>
                  </a:cxn>
                  <a:cxn ang="0">
                    <a:pos x="723" y="89"/>
                  </a:cxn>
                  <a:cxn ang="0">
                    <a:pos x="258" y="113"/>
                  </a:cxn>
                  <a:cxn ang="0">
                    <a:pos x="0" y="39"/>
                  </a:cxn>
                  <a:cxn ang="0">
                    <a:pos x="723" y="0"/>
                  </a:cxn>
                </a:cxnLst>
                <a:rect l="0" t="0" r="r" b="b"/>
                <a:pathLst>
                  <a:path w="723" h="113">
                    <a:moveTo>
                      <a:pt x="723" y="0"/>
                    </a:moveTo>
                    <a:lnTo>
                      <a:pt x="723" y="89"/>
                    </a:lnTo>
                    <a:lnTo>
                      <a:pt x="258" y="113"/>
                    </a:lnTo>
                    <a:lnTo>
                      <a:pt x="0" y="39"/>
                    </a:lnTo>
                    <a:lnTo>
                      <a:pt x="723" y="0"/>
                    </a:lnTo>
                    <a:close/>
                  </a:path>
                </a:pathLst>
              </a:custGeom>
              <a:solidFill>
                <a:srgbClr val="EAEAEA"/>
              </a:solidFill>
              <a:ln w="9525">
                <a:noFill/>
                <a:round/>
                <a:headEnd/>
                <a:tailEnd/>
              </a:ln>
              <a:effectLst/>
            </p:spPr>
            <p:txBody>
              <a:bodyPr/>
              <a:lstStyle/>
              <a:p>
                <a:endParaRPr lang="fr-FR"/>
              </a:p>
            </p:txBody>
          </p:sp>
          <p:sp>
            <p:nvSpPr>
              <p:cNvPr id="16" name="Freeform 51">
                <a:extLst>
                  <a:ext uri="{FF2B5EF4-FFF2-40B4-BE49-F238E27FC236}">
                    <a16:creationId xmlns:a16="http://schemas.microsoft.com/office/drawing/2014/main" id="{1525B2EC-C9E6-F437-BB55-A17B8FD49B16}"/>
                  </a:ext>
                </a:extLst>
              </p:cNvPr>
              <p:cNvSpPr>
                <a:spLocks/>
              </p:cNvSpPr>
              <p:nvPr/>
            </p:nvSpPr>
            <p:spPr bwMode="gray">
              <a:xfrm>
                <a:off x="3335" y="1957"/>
                <a:ext cx="258" cy="728"/>
              </a:xfrm>
              <a:custGeom>
                <a:avLst/>
                <a:gdLst/>
                <a:ahLst/>
                <a:cxnLst>
                  <a:cxn ang="0">
                    <a:pos x="0" y="0"/>
                  </a:cxn>
                  <a:cxn ang="0">
                    <a:pos x="258" y="74"/>
                  </a:cxn>
                  <a:cxn ang="0">
                    <a:pos x="258" y="667"/>
                  </a:cxn>
                  <a:cxn ang="0">
                    <a:pos x="0" y="728"/>
                  </a:cxn>
                  <a:cxn ang="0">
                    <a:pos x="0" y="0"/>
                  </a:cxn>
                </a:cxnLst>
                <a:rect l="0" t="0" r="r" b="b"/>
                <a:pathLst>
                  <a:path w="258" h="728">
                    <a:moveTo>
                      <a:pt x="0" y="0"/>
                    </a:moveTo>
                    <a:lnTo>
                      <a:pt x="258" y="74"/>
                    </a:lnTo>
                    <a:lnTo>
                      <a:pt x="258" y="667"/>
                    </a:lnTo>
                    <a:lnTo>
                      <a:pt x="0" y="728"/>
                    </a:lnTo>
                    <a:lnTo>
                      <a:pt x="0" y="0"/>
                    </a:lnTo>
                    <a:close/>
                  </a:path>
                </a:pathLst>
              </a:custGeom>
              <a:solidFill>
                <a:srgbClr val="D1D1D1"/>
              </a:solidFill>
              <a:ln w="9525">
                <a:noFill/>
                <a:round/>
                <a:headEnd/>
                <a:tailEnd/>
              </a:ln>
              <a:effectLst/>
            </p:spPr>
            <p:txBody>
              <a:bodyPr/>
              <a:lstStyle/>
              <a:p>
                <a:endParaRPr lang="fr-FR"/>
              </a:p>
            </p:txBody>
          </p:sp>
          <p:sp>
            <p:nvSpPr>
              <p:cNvPr id="17" name="Freeform 52">
                <a:extLst>
                  <a:ext uri="{FF2B5EF4-FFF2-40B4-BE49-F238E27FC236}">
                    <a16:creationId xmlns:a16="http://schemas.microsoft.com/office/drawing/2014/main" id="{909C4A75-39A1-4975-07A5-4DEB842EBFBE}"/>
                  </a:ext>
                </a:extLst>
              </p:cNvPr>
              <p:cNvSpPr>
                <a:spLocks/>
              </p:cNvSpPr>
              <p:nvPr/>
            </p:nvSpPr>
            <p:spPr bwMode="gray">
              <a:xfrm>
                <a:off x="3335" y="2624"/>
                <a:ext cx="723" cy="93"/>
              </a:xfrm>
              <a:custGeom>
                <a:avLst/>
                <a:gdLst/>
                <a:ahLst/>
                <a:cxnLst>
                  <a:cxn ang="0">
                    <a:pos x="723" y="15"/>
                  </a:cxn>
                  <a:cxn ang="0">
                    <a:pos x="258" y="0"/>
                  </a:cxn>
                  <a:cxn ang="0">
                    <a:pos x="0" y="61"/>
                  </a:cxn>
                  <a:cxn ang="0">
                    <a:pos x="723" y="93"/>
                  </a:cxn>
                  <a:cxn ang="0">
                    <a:pos x="723" y="15"/>
                  </a:cxn>
                </a:cxnLst>
                <a:rect l="0" t="0" r="r" b="b"/>
                <a:pathLst>
                  <a:path w="723" h="93">
                    <a:moveTo>
                      <a:pt x="723" y="15"/>
                    </a:moveTo>
                    <a:lnTo>
                      <a:pt x="258" y="0"/>
                    </a:lnTo>
                    <a:lnTo>
                      <a:pt x="0" y="61"/>
                    </a:lnTo>
                    <a:lnTo>
                      <a:pt x="723" y="93"/>
                    </a:lnTo>
                    <a:lnTo>
                      <a:pt x="723" y="15"/>
                    </a:lnTo>
                    <a:close/>
                  </a:path>
                </a:pathLst>
              </a:custGeom>
              <a:solidFill>
                <a:srgbClr val="B2B2B2"/>
              </a:solidFill>
              <a:ln w="9525">
                <a:noFill/>
                <a:round/>
                <a:headEnd/>
                <a:tailEnd/>
              </a:ln>
              <a:effectLst/>
            </p:spPr>
            <p:txBody>
              <a:bodyPr/>
              <a:lstStyle/>
              <a:p>
                <a:endParaRPr lang="fr-FR"/>
              </a:p>
            </p:txBody>
          </p:sp>
          <p:sp>
            <p:nvSpPr>
              <p:cNvPr id="18" name="Freeform 53">
                <a:extLst>
                  <a:ext uri="{FF2B5EF4-FFF2-40B4-BE49-F238E27FC236}">
                    <a16:creationId xmlns:a16="http://schemas.microsoft.com/office/drawing/2014/main" id="{A9A1BACE-0002-3D2B-4E16-D964CC6FEA17}"/>
                  </a:ext>
                </a:extLst>
              </p:cNvPr>
              <p:cNvSpPr>
                <a:spLocks/>
              </p:cNvSpPr>
              <p:nvPr/>
            </p:nvSpPr>
            <p:spPr bwMode="gray">
              <a:xfrm>
                <a:off x="4058" y="2639"/>
                <a:ext cx="140" cy="78"/>
              </a:xfrm>
              <a:custGeom>
                <a:avLst/>
                <a:gdLst/>
                <a:ahLst/>
                <a:cxnLst>
                  <a:cxn ang="0">
                    <a:pos x="0" y="78"/>
                  </a:cxn>
                  <a:cxn ang="0">
                    <a:pos x="140" y="3"/>
                  </a:cxn>
                  <a:cxn ang="0">
                    <a:pos x="0" y="0"/>
                  </a:cxn>
                  <a:cxn ang="0">
                    <a:pos x="0" y="78"/>
                  </a:cxn>
                </a:cxnLst>
                <a:rect l="0" t="0" r="r" b="b"/>
                <a:pathLst>
                  <a:path w="140" h="78">
                    <a:moveTo>
                      <a:pt x="0" y="78"/>
                    </a:moveTo>
                    <a:lnTo>
                      <a:pt x="140" y="3"/>
                    </a:lnTo>
                    <a:lnTo>
                      <a:pt x="0" y="0"/>
                    </a:lnTo>
                    <a:lnTo>
                      <a:pt x="0" y="78"/>
                    </a:lnTo>
                    <a:close/>
                  </a:path>
                </a:pathLst>
              </a:custGeom>
              <a:solidFill>
                <a:srgbClr val="000000"/>
              </a:solidFill>
              <a:ln w="9525">
                <a:noFill/>
                <a:round/>
                <a:headEnd/>
                <a:tailEnd/>
              </a:ln>
            </p:spPr>
            <p:txBody>
              <a:bodyPr/>
              <a:lstStyle/>
              <a:p>
                <a:endParaRPr lang="fr-FR"/>
              </a:p>
            </p:txBody>
          </p:sp>
        </p:grpSp>
        <p:grpSp>
          <p:nvGrpSpPr>
            <p:cNvPr id="19" name="Group 85">
              <a:extLst>
                <a:ext uri="{FF2B5EF4-FFF2-40B4-BE49-F238E27FC236}">
                  <a16:creationId xmlns:a16="http://schemas.microsoft.com/office/drawing/2014/main" id="{58F2B866-3F1E-B8E4-1881-DD47C7A6F438}"/>
                </a:ext>
              </a:extLst>
            </p:cNvPr>
            <p:cNvGrpSpPr>
              <a:grpSpLocks/>
            </p:cNvGrpSpPr>
            <p:nvPr/>
          </p:nvGrpSpPr>
          <p:grpSpPr bwMode="auto">
            <a:xfrm>
              <a:off x="2906713" y="1966152"/>
              <a:ext cx="1582737" cy="1450975"/>
              <a:chOff x="497" y="1853"/>
              <a:chExt cx="997" cy="914"/>
            </a:xfrm>
          </p:grpSpPr>
          <p:sp>
            <p:nvSpPr>
              <p:cNvPr id="20" name="Freeform 54">
                <a:extLst>
                  <a:ext uri="{FF2B5EF4-FFF2-40B4-BE49-F238E27FC236}">
                    <a16:creationId xmlns:a16="http://schemas.microsoft.com/office/drawing/2014/main" id="{255E7743-F70F-E972-3758-32143D51C24A}"/>
                  </a:ext>
                </a:extLst>
              </p:cNvPr>
              <p:cNvSpPr>
                <a:spLocks/>
              </p:cNvSpPr>
              <p:nvPr/>
            </p:nvSpPr>
            <p:spPr bwMode="gray">
              <a:xfrm>
                <a:off x="737" y="1853"/>
                <a:ext cx="757" cy="914"/>
              </a:xfrm>
              <a:custGeom>
                <a:avLst/>
                <a:gdLst/>
                <a:ahLst/>
                <a:cxnLst>
                  <a:cxn ang="0">
                    <a:pos x="0" y="0"/>
                  </a:cxn>
                  <a:cxn ang="0">
                    <a:pos x="0" y="914"/>
                  </a:cxn>
                  <a:cxn ang="0">
                    <a:pos x="757" y="854"/>
                  </a:cxn>
                  <a:cxn ang="0">
                    <a:pos x="757" y="61"/>
                  </a:cxn>
                  <a:cxn ang="0">
                    <a:pos x="0" y="0"/>
                  </a:cxn>
                </a:cxnLst>
                <a:rect l="0" t="0" r="r" b="b"/>
                <a:pathLst>
                  <a:path w="757" h="914">
                    <a:moveTo>
                      <a:pt x="0" y="0"/>
                    </a:moveTo>
                    <a:lnTo>
                      <a:pt x="0" y="914"/>
                    </a:lnTo>
                    <a:lnTo>
                      <a:pt x="757" y="854"/>
                    </a:lnTo>
                    <a:lnTo>
                      <a:pt x="757" y="61"/>
                    </a:lnTo>
                    <a:lnTo>
                      <a:pt x="0" y="0"/>
                    </a:lnTo>
                    <a:close/>
                  </a:path>
                </a:pathLst>
              </a:custGeom>
              <a:gradFill rotWithShape="1">
                <a:gsLst>
                  <a:gs pos="0">
                    <a:srgbClr val="C9C9C9">
                      <a:gamma/>
                      <a:tint val="0"/>
                      <a:invGamma/>
                    </a:srgbClr>
                  </a:gs>
                  <a:gs pos="100000">
                    <a:srgbClr val="C9C9C9"/>
                  </a:gs>
                </a:gsLst>
                <a:lin ang="2700000" scaled="1"/>
              </a:gradFill>
              <a:ln w="9525">
                <a:noFill/>
                <a:round/>
                <a:headEnd/>
                <a:tailEnd/>
              </a:ln>
              <a:effectLst/>
            </p:spPr>
            <p:txBody>
              <a:bodyPr/>
              <a:lstStyle/>
              <a:p>
                <a:endParaRPr lang="fr-FR"/>
              </a:p>
            </p:txBody>
          </p:sp>
          <p:sp>
            <p:nvSpPr>
              <p:cNvPr id="21" name="Freeform 55">
                <a:extLst>
                  <a:ext uri="{FF2B5EF4-FFF2-40B4-BE49-F238E27FC236}">
                    <a16:creationId xmlns:a16="http://schemas.microsoft.com/office/drawing/2014/main" id="{758B04B9-612B-0BD9-0730-815FDB47E9AC}"/>
                  </a:ext>
                </a:extLst>
              </p:cNvPr>
              <p:cNvSpPr>
                <a:spLocks/>
              </p:cNvSpPr>
              <p:nvPr/>
            </p:nvSpPr>
            <p:spPr bwMode="gray">
              <a:xfrm>
                <a:off x="497" y="1853"/>
                <a:ext cx="240" cy="914"/>
              </a:xfrm>
              <a:custGeom>
                <a:avLst/>
                <a:gdLst/>
                <a:ahLst/>
                <a:cxnLst>
                  <a:cxn ang="0">
                    <a:pos x="0" y="87"/>
                  </a:cxn>
                  <a:cxn ang="0">
                    <a:pos x="0" y="836"/>
                  </a:cxn>
                  <a:cxn ang="0">
                    <a:pos x="240" y="914"/>
                  </a:cxn>
                  <a:cxn ang="0">
                    <a:pos x="240" y="0"/>
                  </a:cxn>
                  <a:cxn ang="0">
                    <a:pos x="0" y="87"/>
                  </a:cxn>
                </a:cxnLst>
                <a:rect l="0" t="0" r="r" b="b"/>
                <a:pathLst>
                  <a:path w="240" h="914">
                    <a:moveTo>
                      <a:pt x="0" y="87"/>
                    </a:moveTo>
                    <a:lnTo>
                      <a:pt x="0" y="836"/>
                    </a:lnTo>
                    <a:lnTo>
                      <a:pt x="240" y="914"/>
                    </a:lnTo>
                    <a:lnTo>
                      <a:pt x="240" y="0"/>
                    </a:lnTo>
                    <a:lnTo>
                      <a:pt x="0" y="87"/>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22" name="Freeform 56">
                <a:extLst>
                  <a:ext uri="{FF2B5EF4-FFF2-40B4-BE49-F238E27FC236}">
                    <a16:creationId xmlns:a16="http://schemas.microsoft.com/office/drawing/2014/main" id="{B861AFE9-8F79-8B50-3E95-36B846EFBE99}"/>
                  </a:ext>
                </a:extLst>
              </p:cNvPr>
              <p:cNvSpPr>
                <a:spLocks/>
              </p:cNvSpPr>
              <p:nvPr/>
            </p:nvSpPr>
            <p:spPr bwMode="gray">
              <a:xfrm>
                <a:off x="497" y="1853"/>
                <a:ext cx="240" cy="102"/>
              </a:xfrm>
              <a:custGeom>
                <a:avLst/>
                <a:gdLst/>
                <a:ahLst/>
                <a:cxnLst>
                  <a:cxn ang="0">
                    <a:pos x="240" y="0"/>
                  </a:cxn>
                  <a:cxn ang="0">
                    <a:pos x="240" y="102"/>
                  </a:cxn>
                  <a:cxn ang="0">
                    <a:pos x="0" y="87"/>
                  </a:cxn>
                  <a:cxn ang="0">
                    <a:pos x="240" y="0"/>
                  </a:cxn>
                </a:cxnLst>
                <a:rect l="0" t="0" r="r" b="b"/>
                <a:pathLst>
                  <a:path w="240" h="102">
                    <a:moveTo>
                      <a:pt x="240" y="0"/>
                    </a:moveTo>
                    <a:lnTo>
                      <a:pt x="240" y="102"/>
                    </a:lnTo>
                    <a:lnTo>
                      <a:pt x="0" y="87"/>
                    </a:lnTo>
                    <a:lnTo>
                      <a:pt x="240" y="0"/>
                    </a:lnTo>
                    <a:close/>
                  </a:path>
                </a:pathLst>
              </a:custGeom>
              <a:solidFill>
                <a:srgbClr val="808080"/>
              </a:solidFill>
              <a:ln w="9525">
                <a:noFill/>
                <a:round/>
                <a:headEnd/>
                <a:tailEnd/>
              </a:ln>
              <a:effectLst/>
            </p:spPr>
            <p:txBody>
              <a:bodyPr/>
              <a:lstStyle/>
              <a:p>
                <a:endParaRPr lang="fr-FR"/>
              </a:p>
            </p:txBody>
          </p:sp>
          <p:sp>
            <p:nvSpPr>
              <p:cNvPr id="23" name="Freeform 57">
                <a:extLst>
                  <a:ext uri="{FF2B5EF4-FFF2-40B4-BE49-F238E27FC236}">
                    <a16:creationId xmlns:a16="http://schemas.microsoft.com/office/drawing/2014/main" id="{8FF4F6E1-59E9-127C-510A-C536CFC54294}"/>
                  </a:ext>
                </a:extLst>
              </p:cNvPr>
              <p:cNvSpPr>
                <a:spLocks/>
              </p:cNvSpPr>
              <p:nvPr/>
            </p:nvSpPr>
            <p:spPr bwMode="gray">
              <a:xfrm>
                <a:off x="497" y="2674"/>
                <a:ext cx="240" cy="93"/>
              </a:xfrm>
              <a:custGeom>
                <a:avLst/>
                <a:gdLst/>
                <a:ahLst/>
                <a:cxnLst>
                  <a:cxn ang="0">
                    <a:pos x="0" y="15"/>
                  </a:cxn>
                  <a:cxn ang="0">
                    <a:pos x="240" y="0"/>
                  </a:cxn>
                  <a:cxn ang="0">
                    <a:pos x="240" y="93"/>
                  </a:cxn>
                  <a:cxn ang="0">
                    <a:pos x="0" y="15"/>
                  </a:cxn>
                </a:cxnLst>
                <a:rect l="0" t="0" r="r" b="b"/>
                <a:pathLst>
                  <a:path w="240" h="93">
                    <a:moveTo>
                      <a:pt x="0" y="15"/>
                    </a:moveTo>
                    <a:lnTo>
                      <a:pt x="240" y="0"/>
                    </a:lnTo>
                    <a:lnTo>
                      <a:pt x="240" y="93"/>
                    </a:lnTo>
                    <a:lnTo>
                      <a:pt x="0" y="15"/>
                    </a:lnTo>
                    <a:close/>
                  </a:path>
                </a:pathLst>
              </a:custGeom>
              <a:solidFill>
                <a:srgbClr val="000000"/>
              </a:solidFill>
              <a:ln w="9525">
                <a:noFill/>
                <a:round/>
                <a:headEnd/>
                <a:tailEnd/>
              </a:ln>
            </p:spPr>
            <p:txBody>
              <a:bodyPr/>
              <a:lstStyle/>
              <a:p>
                <a:endParaRPr lang="fr-FR"/>
              </a:p>
            </p:txBody>
          </p:sp>
          <p:sp>
            <p:nvSpPr>
              <p:cNvPr id="24" name="Freeform 58">
                <a:extLst>
                  <a:ext uri="{FF2B5EF4-FFF2-40B4-BE49-F238E27FC236}">
                    <a16:creationId xmlns:a16="http://schemas.microsoft.com/office/drawing/2014/main" id="{DBFBE138-24FF-4E34-EEA2-F125789152E5}"/>
                  </a:ext>
                </a:extLst>
              </p:cNvPr>
              <p:cNvSpPr>
                <a:spLocks/>
              </p:cNvSpPr>
              <p:nvPr/>
            </p:nvSpPr>
            <p:spPr bwMode="gray">
              <a:xfrm>
                <a:off x="737" y="1853"/>
                <a:ext cx="757" cy="130"/>
              </a:xfrm>
              <a:custGeom>
                <a:avLst/>
                <a:gdLst/>
                <a:ahLst/>
                <a:cxnLst>
                  <a:cxn ang="0">
                    <a:pos x="0" y="0"/>
                  </a:cxn>
                  <a:cxn ang="0">
                    <a:pos x="0" y="102"/>
                  </a:cxn>
                  <a:cxn ang="0">
                    <a:pos x="422" y="130"/>
                  </a:cxn>
                  <a:cxn ang="0">
                    <a:pos x="757" y="61"/>
                  </a:cxn>
                  <a:cxn ang="0">
                    <a:pos x="0" y="0"/>
                  </a:cxn>
                </a:cxnLst>
                <a:rect l="0" t="0" r="r" b="b"/>
                <a:pathLst>
                  <a:path w="757" h="130">
                    <a:moveTo>
                      <a:pt x="0" y="0"/>
                    </a:moveTo>
                    <a:lnTo>
                      <a:pt x="0" y="102"/>
                    </a:lnTo>
                    <a:lnTo>
                      <a:pt x="422" y="130"/>
                    </a:lnTo>
                    <a:lnTo>
                      <a:pt x="757" y="61"/>
                    </a:lnTo>
                    <a:lnTo>
                      <a:pt x="0" y="0"/>
                    </a:lnTo>
                    <a:close/>
                  </a:path>
                </a:pathLst>
              </a:custGeom>
              <a:solidFill>
                <a:srgbClr val="EAEAEA"/>
              </a:solidFill>
              <a:ln w="9525">
                <a:noFill/>
                <a:round/>
                <a:headEnd/>
                <a:tailEnd/>
              </a:ln>
              <a:effectLst/>
            </p:spPr>
            <p:txBody>
              <a:bodyPr/>
              <a:lstStyle/>
              <a:p>
                <a:endParaRPr lang="fr-FR"/>
              </a:p>
            </p:txBody>
          </p:sp>
          <p:sp>
            <p:nvSpPr>
              <p:cNvPr id="25" name="Freeform 59">
                <a:extLst>
                  <a:ext uri="{FF2B5EF4-FFF2-40B4-BE49-F238E27FC236}">
                    <a16:creationId xmlns:a16="http://schemas.microsoft.com/office/drawing/2014/main" id="{391190E3-B0C7-5D87-E682-BF8CCAFD7775}"/>
                  </a:ext>
                </a:extLst>
              </p:cNvPr>
              <p:cNvSpPr>
                <a:spLocks/>
              </p:cNvSpPr>
              <p:nvPr/>
            </p:nvSpPr>
            <p:spPr bwMode="gray">
              <a:xfrm>
                <a:off x="1159" y="1914"/>
                <a:ext cx="335" cy="793"/>
              </a:xfrm>
              <a:custGeom>
                <a:avLst/>
                <a:gdLst/>
                <a:ahLst/>
                <a:cxnLst>
                  <a:cxn ang="0">
                    <a:pos x="335" y="793"/>
                  </a:cxn>
                  <a:cxn ang="0">
                    <a:pos x="335" y="0"/>
                  </a:cxn>
                  <a:cxn ang="0">
                    <a:pos x="0" y="69"/>
                  </a:cxn>
                  <a:cxn ang="0">
                    <a:pos x="0" y="734"/>
                  </a:cxn>
                  <a:cxn ang="0">
                    <a:pos x="335" y="793"/>
                  </a:cxn>
                </a:cxnLst>
                <a:rect l="0" t="0" r="r" b="b"/>
                <a:pathLst>
                  <a:path w="335" h="793">
                    <a:moveTo>
                      <a:pt x="335" y="793"/>
                    </a:moveTo>
                    <a:lnTo>
                      <a:pt x="335" y="0"/>
                    </a:lnTo>
                    <a:lnTo>
                      <a:pt x="0" y="69"/>
                    </a:lnTo>
                    <a:lnTo>
                      <a:pt x="0" y="734"/>
                    </a:lnTo>
                    <a:lnTo>
                      <a:pt x="335" y="793"/>
                    </a:lnTo>
                    <a:close/>
                  </a:path>
                </a:pathLst>
              </a:custGeom>
              <a:solidFill>
                <a:srgbClr val="BEBEBE"/>
              </a:solidFill>
              <a:ln w="9525">
                <a:noFill/>
                <a:round/>
                <a:headEnd/>
                <a:tailEnd/>
              </a:ln>
              <a:effectLst/>
            </p:spPr>
            <p:txBody>
              <a:bodyPr/>
              <a:lstStyle/>
              <a:p>
                <a:endParaRPr lang="fr-FR"/>
              </a:p>
            </p:txBody>
          </p:sp>
          <p:sp>
            <p:nvSpPr>
              <p:cNvPr id="26" name="Freeform 60">
                <a:extLst>
                  <a:ext uri="{FF2B5EF4-FFF2-40B4-BE49-F238E27FC236}">
                    <a16:creationId xmlns:a16="http://schemas.microsoft.com/office/drawing/2014/main" id="{BC796ABB-E84C-8FE1-7B0D-EC5D7EEB1AD5}"/>
                  </a:ext>
                </a:extLst>
              </p:cNvPr>
              <p:cNvSpPr>
                <a:spLocks/>
              </p:cNvSpPr>
              <p:nvPr/>
            </p:nvSpPr>
            <p:spPr bwMode="gray">
              <a:xfrm>
                <a:off x="737" y="2648"/>
                <a:ext cx="757" cy="119"/>
              </a:xfrm>
              <a:custGeom>
                <a:avLst/>
                <a:gdLst/>
                <a:ahLst/>
                <a:cxnLst>
                  <a:cxn ang="0">
                    <a:pos x="0" y="26"/>
                  </a:cxn>
                  <a:cxn ang="0">
                    <a:pos x="0" y="119"/>
                  </a:cxn>
                  <a:cxn ang="0">
                    <a:pos x="757" y="59"/>
                  </a:cxn>
                  <a:cxn ang="0">
                    <a:pos x="422" y="0"/>
                  </a:cxn>
                  <a:cxn ang="0">
                    <a:pos x="0" y="26"/>
                  </a:cxn>
                </a:cxnLst>
                <a:rect l="0" t="0" r="r" b="b"/>
                <a:pathLst>
                  <a:path w="757" h="119">
                    <a:moveTo>
                      <a:pt x="0" y="26"/>
                    </a:moveTo>
                    <a:lnTo>
                      <a:pt x="0" y="119"/>
                    </a:lnTo>
                    <a:lnTo>
                      <a:pt x="757" y="59"/>
                    </a:lnTo>
                    <a:lnTo>
                      <a:pt x="422" y="0"/>
                    </a:lnTo>
                    <a:lnTo>
                      <a:pt x="0" y="26"/>
                    </a:lnTo>
                    <a:close/>
                  </a:path>
                </a:pathLst>
              </a:custGeom>
              <a:solidFill>
                <a:srgbClr val="B2B2B2"/>
              </a:solidFill>
              <a:ln w="9525">
                <a:noFill/>
                <a:round/>
                <a:headEnd/>
                <a:tailEnd/>
              </a:ln>
              <a:effectLst/>
            </p:spPr>
            <p:txBody>
              <a:bodyPr/>
              <a:lstStyle/>
              <a:p>
                <a:endParaRPr lang="fr-FR"/>
              </a:p>
            </p:txBody>
          </p:sp>
        </p:grpSp>
        <p:grpSp>
          <p:nvGrpSpPr>
            <p:cNvPr id="27" name="Group 82">
              <a:extLst>
                <a:ext uri="{FF2B5EF4-FFF2-40B4-BE49-F238E27FC236}">
                  <a16:creationId xmlns:a16="http://schemas.microsoft.com/office/drawing/2014/main" id="{1C5C673C-CEA8-8938-37BE-91F5E3F9CE21}"/>
                </a:ext>
              </a:extLst>
            </p:cNvPr>
            <p:cNvGrpSpPr>
              <a:grpSpLocks/>
            </p:cNvGrpSpPr>
            <p:nvPr/>
          </p:nvGrpSpPr>
          <p:grpSpPr bwMode="auto">
            <a:xfrm>
              <a:off x="7866062" y="1950278"/>
              <a:ext cx="1582738" cy="1450975"/>
              <a:chOff x="4268" y="1853"/>
              <a:chExt cx="997" cy="914"/>
            </a:xfrm>
          </p:grpSpPr>
          <p:sp>
            <p:nvSpPr>
              <p:cNvPr id="28" name="Freeform 61">
                <a:extLst>
                  <a:ext uri="{FF2B5EF4-FFF2-40B4-BE49-F238E27FC236}">
                    <a16:creationId xmlns:a16="http://schemas.microsoft.com/office/drawing/2014/main" id="{F900C6D4-0C16-D0F8-64C6-03EB5BCCB31D}"/>
                  </a:ext>
                </a:extLst>
              </p:cNvPr>
              <p:cNvSpPr>
                <a:spLocks/>
              </p:cNvSpPr>
              <p:nvPr/>
            </p:nvSpPr>
            <p:spPr bwMode="gray">
              <a:xfrm>
                <a:off x="4268" y="1853"/>
                <a:ext cx="757" cy="914"/>
              </a:xfrm>
              <a:custGeom>
                <a:avLst/>
                <a:gdLst/>
                <a:ahLst/>
                <a:cxnLst>
                  <a:cxn ang="0">
                    <a:pos x="757" y="0"/>
                  </a:cxn>
                  <a:cxn ang="0">
                    <a:pos x="757" y="914"/>
                  </a:cxn>
                  <a:cxn ang="0">
                    <a:pos x="0" y="854"/>
                  </a:cxn>
                  <a:cxn ang="0">
                    <a:pos x="0" y="61"/>
                  </a:cxn>
                  <a:cxn ang="0">
                    <a:pos x="757" y="0"/>
                  </a:cxn>
                </a:cxnLst>
                <a:rect l="0" t="0" r="r" b="b"/>
                <a:pathLst>
                  <a:path w="757" h="914">
                    <a:moveTo>
                      <a:pt x="757" y="0"/>
                    </a:moveTo>
                    <a:lnTo>
                      <a:pt x="757" y="914"/>
                    </a:lnTo>
                    <a:lnTo>
                      <a:pt x="0" y="854"/>
                    </a:lnTo>
                    <a:lnTo>
                      <a:pt x="0" y="61"/>
                    </a:lnTo>
                    <a:lnTo>
                      <a:pt x="757" y="0"/>
                    </a:lnTo>
                    <a:close/>
                  </a:path>
                </a:pathLst>
              </a:custGeom>
              <a:gradFill rotWithShape="1">
                <a:gsLst>
                  <a:gs pos="0">
                    <a:srgbClr val="C9C9C9"/>
                  </a:gs>
                  <a:gs pos="100000">
                    <a:srgbClr val="C9C9C9">
                      <a:gamma/>
                      <a:tint val="0"/>
                      <a:invGamma/>
                    </a:srgbClr>
                  </a:gs>
                </a:gsLst>
                <a:lin ang="2700000" scaled="1"/>
              </a:gradFill>
              <a:ln w="9525">
                <a:noFill/>
                <a:round/>
                <a:headEnd/>
                <a:tailEnd/>
              </a:ln>
              <a:effectLst/>
            </p:spPr>
            <p:txBody>
              <a:bodyPr/>
              <a:lstStyle/>
              <a:p>
                <a:endParaRPr lang="fr-FR"/>
              </a:p>
            </p:txBody>
          </p:sp>
          <p:sp>
            <p:nvSpPr>
              <p:cNvPr id="29" name="Freeform 62">
                <a:extLst>
                  <a:ext uri="{FF2B5EF4-FFF2-40B4-BE49-F238E27FC236}">
                    <a16:creationId xmlns:a16="http://schemas.microsoft.com/office/drawing/2014/main" id="{DDB3A960-2129-D1CB-66B9-AC21B0909F78}"/>
                  </a:ext>
                </a:extLst>
              </p:cNvPr>
              <p:cNvSpPr>
                <a:spLocks/>
              </p:cNvSpPr>
              <p:nvPr/>
            </p:nvSpPr>
            <p:spPr bwMode="gray">
              <a:xfrm>
                <a:off x="5025" y="1853"/>
                <a:ext cx="240" cy="914"/>
              </a:xfrm>
              <a:custGeom>
                <a:avLst/>
                <a:gdLst/>
                <a:ahLst/>
                <a:cxnLst>
                  <a:cxn ang="0">
                    <a:pos x="240" y="87"/>
                  </a:cxn>
                  <a:cxn ang="0">
                    <a:pos x="240" y="836"/>
                  </a:cxn>
                  <a:cxn ang="0">
                    <a:pos x="0" y="914"/>
                  </a:cxn>
                  <a:cxn ang="0">
                    <a:pos x="0" y="0"/>
                  </a:cxn>
                  <a:cxn ang="0">
                    <a:pos x="240" y="87"/>
                  </a:cxn>
                </a:cxnLst>
                <a:rect l="0" t="0" r="r" b="b"/>
                <a:pathLst>
                  <a:path w="240" h="914">
                    <a:moveTo>
                      <a:pt x="240" y="87"/>
                    </a:moveTo>
                    <a:lnTo>
                      <a:pt x="240" y="836"/>
                    </a:lnTo>
                    <a:lnTo>
                      <a:pt x="0" y="914"/>
                    </a:lnTo>
                    <a:lnTo>
                      <a:pt x="0" y="0"/>
                    </a:lnTo>
                    <a:lnTo>
                      <a:pt x="240" y="87"/>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30" name="Freeform 63">
                <a:extLst>
                  <a:ext uri="{FF2B5EF4-FFF2-40B4-BE49-F238E27FC236}">
                    <a16:creationId xmlns:a16="http://schemas.microsoft.com/office/drawing/2014/main" id="{B2C64592-1670-A903-78C0-C209F71078F2}"/>
                  </a:ext>
                </a:extLst>
              </p:cNvPr>
              <p:cNvSpPr>
                <a:spLocks/>
              </p:cNvSpPr>
              <p:nvPr/>
            </p:nvSpPr>
            <p:spPr bwMode="gray">
              <a:xfrm>
                <a:off x="5025" y="1853"/>
                <a:ext cx="240" cy="102"/>
              </a:xfrm>
              <a:custGeom>
                <a:avLst/>
                <a:gdLst/>
                <a:ahLst/>
                <a:cxnLst>
                  <a:cxn ang="0">
                    <a:pos x="0" y="0"/>
                  </a:cxn>
                  <a:cxn ang="0">
                    <a:pos x="0" y="102"/>
                  </a:cxn>
                  <a:cxn ang="0">
                    <a:pos x="240" y="87"/>
                  </a:cxn>
                  <a:cxn ang="0">
                    <a:pos x="0" y="0"/>
                  </a:cxn>
                </a:cxnLst>
                <a:rect l="0" t="0" r="r" b="b"/>
                <a:pathLst>
                  <a:path w="240" h="102">
                    <a:moveTo>
                      <a:pt x="0" y="0"/>
                    </a:moveTo>
                    <a:lnTo>
                      <a:pt x="0" y="102"/>
                    </a:lnTo>
                    <a:lnTo>
                      <a:pt x="240" y="87"/>
                    </a:lnTo>
                    <a:lnTo>
                      <a:pt x="0" y="0"/>
                    </a:lnTo>
                    <a:close/>
                  </a:path>
                </a:pathLst>
              </a:custGeom>
              <a:solidFill>
                <a:srgbClr val="808080"/>
              </a:solidFill>
              <a:ln w="9525">
                <a:noFill/>
                <a:round/>
                <a:headEnd/>
                <a:tailEnd/>
              </a:ln>
              <a:effectLst/>
            </p:spPr>
            <p:txBody>
              <a:bodyPr/>
              <a:lstStyle/>
              <a:p>
                <a:endParaRPr lang="fr-FR"/>
              </a:p>
            </p:txBody>
          </p:sp>
          <p:sp>
            <p:nvSpPr>
              <p:cNvPr id="31" name="Freeform 64">
                <a:extLst>
                  <a:ext uri="{FF2B5EF4-FFF2-40B4-BE49-F238E27FC236}">
                    <a16:creationId xmlns:a16="http://schemas.microsoft.com/office/drawing/2014/main" id="{C5D678E2-D196-2E38-635B-F6FE86734BA0}"/>
                  </a:ext>
                </a:extLst>
              </p:cNvPr>
              <p:cNvSpPr>
                <a:spLocks/>
              </p:cNvSpPr>
              <p:nvPr/>
            </p:nvSpPr>
            <p:spPr bwMode="gray">
              <a:xfrm>
                <a:off x="5025" y="2674"/>
                <a:ext cx="240" cy="93"/>
              </a:xfrm>
              <a:custGeom>
                <a:avLst/>
                <a:gdLst/>
                <a:ahLst/>
                <a:cxnLst>
                  <a:cxn ang="0">
                    <a:pos x="240" y="15"/>
                  </a:cxn>
                  <a:cxn ang="0">
                    <a:pos x="0" y="0"/>
                  </a:cxn>
                  <a:cxn ang="0">
                    <a:pos x="0" y="93"/>
                  </a:cxn>
                  <a:cxn ang="0">
                    <a:pos x="240" y="15"/>
                  </a:cxn>
                </a:cxnLst>
                <a:rect l="0" t="0" r="r" b="b"/>
                <a:pathLst>
                  <a:path w="240" h="93">
                    <a:moveTo>
                      <a:pt x="240" y="15"/>
                    </a:moveTo>
                    <a:lnTo>
                      <a:pt x="0" y="0"/>
                    </a:lnTo>
                    <a:lnTo>
                      <a:pt x="0" y="93"/>
                    </a:lnTo>
                    <a:lnTo>
                      <a:pt x="240" y="15"/>
                    </a:lnTo>
                    <a:close/>
                  </a:path>
                </a:pathLst>
              </a:custGeom>
              <a:solidFill>
                <a:srgbClr val="000000"/>
              </a:solidFill>
              <a:ln w="9525">
                <a:noFill/>
                <a:round/>
                <a:headEnd/>
                <a:tailEnd/>
              </a:ln>
            </p:spPr>
            <p:txBody>
              <a:bodyPr/>
              <a:lstStyle/>
              <a:p>
                <a:endParaRPr lang="fr-FR"/>
              </a:p>
            </p:txBody>
          </p:sp>
          <p:sp>
            <p:nvSpPr>
              <p:cNvPr id="32" name="Freeform 65">
                <a:extLst>
                  <a:ext uri="{FF2B5EF4-FFF2-40B4-BE49-F238E27FC236}">
                    <a16:creationId xmlns:a16="http://schemas.microsoft.com/office/drawing/2014/main" id="{113E44C0-9C80-C41D-D3AC-35B08F526BEF}"/>
                  </a:ext>
                </a:extLst>
              </p:cNvPr>
              <p:cNvSpPr>
                <a:spLocks/>
              </p:cNvSpPr>
              <p:nvPr/>
            </p:nvSpPr>
            <p:spPr bwMode="gray">
              <a:xfrm>
                <a:off x="4268" y="1853"/>
                <a:ext cx="757" cy="130"/>
              </a:xfrm>
              <a:custGeom>
                <a:avLst/>
                <a:gdLst/>
                <a:ahLst/>
                <a:cxnLst>
                  <a:cxn ang="0">
                    <a:pos x="757" y="0"/>
                  </a:cxn>
                  <a:cxn ang="0">
                    <a:pos x="757" y="102"/>
                  </a:cxn>
                  <a:cxn ang="0">
                    <a:pos x="335" y="130"/>
                  </a:cxn>
                  <a:cxn ang="0">
                    <a:pos x="0" y="61"/>
                  </a:cxn>
                  <a:cxn ang="0">
                    <a:pos x="757" y="0"/>
                  </a:cxn>
                </a:cxnLst>
                <a:rect l="0" t="0" r="r" b="b"/>
                <a:pathLst>
                  <a:path w="757" h="130">
                    <a:moveTo>
                      <a:pt x="757" y="0"/>
                    </a:moveTo>
                    <a:lnTo>
                      <a:pt x="757" y="102"/>
                    </a:lnTo>
                    <a:lnTo>
                      <a:pt x="335" y="130"/>
                    </a:lnTo>
                    <a:lnTo>
                      <a:pt x="0" y="61"/>
                    </a:lnTo>
                    <a:lnTo>
                      <a:pt x="757" y="0"/>
                    </a:lnTo>
                    <a:close/>
                  </a:path>
                </a:pathLst>
              </a:custGeom>
              <a:solidFill>
                <a:srgbClr val="EAEAEA"/>
              </a:solidFill>
              <a:ln w="9525">
                <a:noFill/>
                <a:round/>
                <a:headEnd/>
                <a:tailEnd/>
              </a:ln>
              <a:effectLst/>
            </p:spPr>
            <p:txBody>
              <a:bodyPr/>
              <a:lstStyle/>
              <a:p>
                <a:endParaRPr lang="fr-FR"/>
              </a:p>
            </p:txBody>
          </p:sp>
          <p:sp>
            <p:nvSpPr>
              <p:cNvPr id="33" name="Freeform 66">
                <a:extLst>
                  <a:ext uri="{FF2B5EF4-FFF2-40B4-BE49-F238E27FC236}">
                    <a16:creationId xmlns:a16="http://schemas.microsoft.com/office/drawing/2014/main" id="{C7219B05-5912-C05D-6BAD-E81DA7152644}"/>
                  </a:ext>
                </a:extLst>
              </p:cNvPr>
              <p:cNvSpPr>
                <a:spLocks/>
              </p:cNvSpPr>
              <p:nvPr/>
            </p:nvSpPr>
            <p:spPr bwMode="gray">
              <a:xfrm>
                <a:off x="4268" y="1914"/>
                <a:ext cx="335" cy="793"/>
              </a:xfrm>
              <a:custGeom>
                <a:avLst/>
                <a:gdLst/>
                <a:ahLst/>
                <a:cxnLst>
                  <a:cxn ang="0">
                    <a:pos x="0" y="793"/>
                  </a:cxn>
                  <a:cxn ang="0">
                    <a:pos x="0" y="0"/>
                  </a:cxn>
                  <a:cxn ang="0">
                    <a:pos x="335" y="69"/>
                  </a:cxn>
                  <a:cxn ang="0">
                    <a:pos x="335" y="734"/>
                  </a:cxn>
                  <a:cxn ang="0">
                    <a:pos x="0" y="793"/>
                  </a:cxn>
                </a:cxnLst>
                <a:rect l="0" t="0" r="r" b="b"/>
                <a:pathLst>
                  <a:path w="335" h="793">
                    <a:moveTo>
                      <a:pt x="0" y="793"/>
                    </a:moveTo>
                    <a:lnTo>
                      <a:pt x="0" y="0"/>
                    </a:lnTo>
                    <a:lnTo>
                      <a:pt x="335" y="69"/>
                    </a:lnTo>
                    <a:lnTo>
                      <a:pt x="335" y="734"/>
                    </a:lnTo>
                    <a:lnTo>
                      <a:pt x="0" y="793"/>
                    </a:lnTo>
                    <a:close/>
                  </a:path>
                </a:pathLst>
              </a:custGeom>
              <a:solidFill>
                <a:srgbClr val="BEBEBE"/>
              </a:solidFill>
              <a:ln w="9525">
                <a:noFill/>
                <a:round/>
                <a:headEnd/>
                <a:tailEnd/>
              </a:ln>
              <a:effectLst/>
            </p:spPr>
            <p:txBody>
              <a:bodyPr/>
              <a:lstStyle/>
              <a:p>
                <a:endParaRPr lang="fr-FR"/>
              </a:p>
            </p:txBody>
          </p:sp>
          <p:sp>
            <p:nvSpPr>
              <p:cNvPr id="34" name="Freeform 67">
                <a:extLst>
                  <a:ext uri="{FF2B5EF4-FFF2-40B4-BE49-F238E27FC236}">
                    <a16:creationId xmlns:a16="http://schemas.microsoft.com/office/drawing/2014/main" id="{556A5BEE-5F71-58BE-BEA7-17898B3CA863}"/>
                  </a:ext>
                </a:extLst>
              </p:cNvPr>
              <p:cNvSpPr>
                <a:spLocks/>
              </p:cNvSpPr>
              <p:nvPr/>
            </p:nvSpPr>
            <p:spPr bwMode="gray">
              <a:xfrm>
                <a:off x="4268" y="2648"/>
                <a:ext cx="757" cy="119"/>
              </a:xfrm>
              <a:custGeom>
                <a:avLst/>
                <a:gdLst/>
                <a:ahLst/>
                <a:cxnLst>
                  <a:cxn ang="0">
                    <a:pos x="757" y="26"/>
                  </a:cxn>
                  <a:cxn ang="0">
                    <a:pos x="757" y="119"/>
                  </a:cxn>
                  <a:cxn ang="0">
                    <a:pos x="0" y="59"/>
                  </a:cxn>
                  <a:cxn ang="0">
                    <a:pos x="335" y="0"/>
                  </a:cxn>
                  <a:cxn ang="0">
                    <a:pos x="757" y="26"/>
                  </a:cxn>
                </a:cxnLst>
                <a:rect l="0" t="0" r="r" b="b"/>
                <a:pathLst>
                  <a:path w="757" h="119">
                    <a:moveTo>
                      <a:pt x="757" y="26"/>
                    </a:moveTo>
                    <a:lnTo>
                      <a:pt x="757" y="119"/>
                    </a:lnTo>
                    <a:lnTo>
                      <a:pt x="0" y="59"/>
                    </a:lnTo>
                    <a:lnTo>
                      <a:pt x="335" y="0"/>
                    </a:lnTo>
                    <a:lnTo>
                      <a:pt x="757" y="26"/>
                    </a:lnTo>
                    <a:close/>
                  </a:path>
                </a:pathLst>
              </a:custGeom>
              <a:solidFill>
                <a:srgbClr val="B2B2B2"/>
              </a:solidFill>
              <a:ln w="9525">
                <a:noFill/>
                <a:round/>
                <a:headEnd/>
                <a:tailEnd/>
              </a:ln>
              <a:effectLst/>
            </p:spPr>
            <p:txBody>
              <a:bodyPr/>
              <a:lstStyle/>
              <a:p>
                <a:endParaRPr lang="fr-FR"/>
              </a:p>
            </p:txBody>
          </p:sp>
        </p:grpSp>
        <p:sp>
          <p:nvSpPr>
            <p:cNvPr id="35" name="Text Box 30">
              <a:extLst>
                <a:ext uri="{FF2B5EF4-FFF2-40B4-BE49-F238E27FC236}">
                  <a16:creationId xmlns:a16="http://schemas.microsoft.com/office/drawing/2014/main" id="{95DC152C-743B-4BC2-4E06-BAEB0EDB536D}"/>
                </a:ext>
              </a:extLst>
            </p:cNvPr>
            <p:cNvSpPr txBox="1">
              <a:spLocks noChangeArrowheads="1"/>
            </p:cNvSpPr>
            <p:nvPr/>
          </p:nvSpPr>
          <p:spPr bwMode="gray">
            <a:xfrm>
              <a:off x="3306733" y="2378157"/>
              <a:ext cx="1138147" cy="646331"/>
            </a:xfrm>
            <a:prstGeom prst="rect">
              <a:avLst/>
            </a:prstGeom>
            <a:noFill/>
            <a:ln w="9525">
              <a:noFill/>
              <a:miter lim="800000"/>
              <a:headEnd/>
              <a:tailEnd/>
            </a:ln>
          </p:spPr>
          <p:txBody>
            <a:bodyPr wrap="none" anchor="ctr">
              <a:spAutoFit/>
            </a:bodyPr>
            <a:lstStyle/>
            <a:p>
              <a:pPr algn="ctr"/>
              <a:r>
                <a:rPr lang="en-US" sz="1200" b="1" noProof="1"/>
                <a:t>Determine </a:t>
              </a:r>
            </a:p>
            <a:p>
              <a:pPr algn="ctr"/>
              <a:r>
                <a:rPr lang="en-US" sz="1200" b="1" noProof="1"/>
                <a:t>Risks and</a:t>
              </a:r>
            </a:p>
            <a:p>
              <a:pPr algn="ctr"/>
              <a:r>
                <a:rPr lang="en-US" sz="1200" b="1" noProof="1"/>
                <a:t> Opportunities</a:t>
              </a:r>
            </a:p>
          </p:txBody>
        </p:sp>
        <p:grpSp>
          <p:nvGrpSpPr>
            <p:cNvPr id="36" name="Group 101">
              <a:extLst>
                <a:ext uri="{FF2B5EF4-FFF2-40B4-BE49-F238E27FC236}">
                  <a16:creationId xmlns:a16="http://schemas.microsoft.com/office/drawing/2014/main" id="{3E1846F6-A5FF-669C-C864-24723DE9885E}"/>
                </a:ext>
              </a:extLst>
            </p:cNvPr>
            <p:cNvGrpSpPr>
              <a:grpSpLocks/>
            </p:cNvGrpSpPr>
            <p:nvPr/>
          </p:nvGrpSpPr>
          <p:grpSpPr bwMode="auto">
            <a:xfrm>
              <a:off x="4591064" y="2069339"/>
              <a:ext cx="1370018" cy="1268413"/>
              <a:chOff x="1558" y="1918"/>
              <a:chExt cx="863" cy="799"/>
            </a:xfrm>
          </p:grpSpPr>
          <p:sp>
            <p:nvSpPr>
              <p:cNvPr id="37" name="Freeform 40">
                <a:extLst>
                  <a:ext uri="{FF2B5EF4-FFF2-40B4-BE49-F238E27FC236}">
                    <a16:creationId xmlns:a16="http://schemas.microsoft.com/office/drawing/2014/main" id="{6CC7B01E-E424-CAF1-DC61-8097E619AA7C}"/>
                  </a:ext>
                </a:extLst>
              </p:cNvPr>
              <p:cNvSpPr>
                <a:spLocks/>
              </p:cNvSpPr>
              <p:nvPr/>
            </p:nvSpPr>
            <p:spPr bwMode="gray">
              <a:xfrm>
                <a:off x="1696" y="1918"/>
                <a:ext cx="725" cy="799"/>
              </a:xfrm>
              <a:custGeom>
                <a:avLst/>
                <a:gdLst/>
                <a:ahLst/>
                <a:cxnLst>
                  <a:cxn ang="0">
                    <a:pos x="0" y="799"/>
                  </a:cxn>
                  <a:cxn ang="0">
                    <a:pos x="0" y="0"/>
                  </a:cxn>
                  <a:cxn ang="0">
                    <a:pos x="725" y="39"/>
                  </a:cxn>
                  <a:cxn ang="0">
                    <a:pos x="725" y="767"/>
                  </a:cxn>
                  <a:cxn ang="0">
                    <a:pos x="0" y="799"/>
                  </a:cxn>
                </a:cxnLst>
                <a:rect l="0" t="0" r="r" b="b"/>
                <a:pathLst>
                  <a:path w="725" h="799">
                    <a:moveTo>
                      <a:pt x="0" y="799"/>
                    </a:moveTo>
                    <a:lnTo>
                      <a:pt x="0" y="0"/>
                    </a:lnTo>
                    <a:lnTo>
                      <a:pt x="725" y="39"/>
                    </a:lnTo>
                    <a:lnTo>
                      <a:pt x="725" y="767"/>
                    </a:lnTo>
                    <a:lnTo>
                      <a:pt x="0" y="799"/>
                    </a:lnTo>
                    <a:close/>
                  </a:path>
                </a:pathLst>
              </a:custGeom>
              <a:gradFill rotWithShape="1">
                <a:gsLst>
                  <a:gs pos="0">
                    <a:srgbClr val="C9C9C9">
                      <a:gamma/>
                      <a:tint val="0"/>
                      <a:invGamma/>
                    </a:srgbClr>
                  </a:gs>
                  <a:gs pos="100000">
                    <a:srgbClr val="C9C9C9"/>
                  </a:gs>
                </a:gsLst>
                <a:lin ang="2700000" scaled="1"/>
              </a:gradFill>
              <a:ln w="9525">
                <a:noFill/>
                <a:round/>
                <a:headEnd/>
                <a:tailEnd/>
              </a:ln>
              <a:effectLst/>
            </p:spPr>
            <p:txBody>
              <a:bodyPr/>
              <a:lstStyle/>
              <a:p>
                <a:endParaRPr lang="fr-FR"/>
              </a:p>
            </p:txBody>
          </p:sp>
          <p:sp>
            <p:nvSpPr>
              <p:cNvPr id="38" name="Freeform 41">
                <a:extLst>
                  <a:ext uri="{FF2B5EF4-FFF2-40B4-BE49-F238E27FC236}">
                    <a16:creationId xmlns:a16="http://schemas.microsoft.com/office/drawing/2014/main" id="{48D73051-9E2B-918E-52AD-63448F93E5E1}"/>
                  </a:ext>
                </a:extLst>
              </p:cNvPr>
              <p:cNvSpPr>
                <a:spLocks/>
              </p:cNvSpPr>
              <p:nvPr/>
            </p:nvSpPr>
            <p:spPr bwMode="gray">
              <a:xfrm>
                <a:off x="1558" y="1918"/>
                <a:ext cx="138" cy="799"/>
              </a:xfrm>
              <a:custGeom>
                <a:avLst/>
                <a:gdLst/>
                <a:ahLst/>
                <a:cxnLst>
                  <a:cxn ang="0">
                    <a:pos x="0" y="724"/>
                  </a:cxn>
                  <a:cxn ang="0">
                    <a:pos x="0" y="83"/>
                  </a:cxn>
                  <a:cxn ang="0">
                    <a:pos x="138" y="0"/>
                  </a:cxn>
                  <a:cxn ang="0">
                    <a:pos x="138" y="799"/>
                  </a:cxn>
                  <a:cxn ang="0">
                    <a:pos x="0" y="724"/>
                  </a:cxn>
                </a:cxnLst>
                <a:rect l="0" t="0" r="r" b="b"/>
                <a:pathLst>
                  <a:path w="138" h="799">
                    <a:moveTo>
                      <a:pt x="0" y="724"/>
                    </a:moveTo>
                    <a:lnTo>
                      <a:pt x="0" y="83"/>
                    </a:lnTo>
                    <a:lnTo>
                      <a:pt x="138" y="0"/>
                    </a:lnTo>
                    <a:lnTo>
                      <a:pt x="138" y="799"/>
                    </a:lnTo>
                    <a:lnTo>
                      <a:pt x="0" y="724"/>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39" name="Freeform 42">
                <a:extLst>
                  <a:ext uri="{FF2B5EF4-FFF2-40B4-BE49-F238E27FC236}">
                    <a16:creationId xmlns:a16="http://schemas.microsoft.com/office/drawing/2014/main" id="{AD9D6429-E2BC-CEDB-E4C4-A709FFF98020}"/>
                  </a:ext>
                </a:extLst>
              </p:cNvPr>
              <p:cNvSpPr>
                <a:spLocks/>
              </p:cNvSpPr>
              <p:nvPr/>
            </p:nvSpPr>
            <p:spPr bwMode="gray">
              <a:xfrm>
                <a:off x="1558" y="1918"/>
                <a:ext cx="138" cy="89"/>
              </a:xfrm>
              <a:custGeom>
                <a:avLst/>
                <a:gdLst/>
                <a:ahLst/>
                <a:cxnLst>
                  <a:cxn ang="0">
                    <a:pos x="0" y="83"/>
                  </a:cxn>
                  <a:cxn ang="0">
                    <a:pos x="138" y="0"/>
                  </a:cxn>
                  <a:cxn ang="0">
                    <a:pos x="138" y="89"/>
                  </a:cxn>
                  <a:cxn ang="0">
                    <a:pos x="0" y="83"/>
                  </a:cxn>
                </a:cxnLst>
                <a:rect l="0" t="0" r="r" b="b"/>
                <a:pathLst>
                  <a:path w="138" h="89">
                    <a:moveTo>
                      <a:pt x="0" y="83"/>
                    </a:moveTo>
                    <a:lnTo>
                      <a:pt x="138" y="0"/>
                    </a:lnTo>
                    <a:lnTo>
                      <a:pt x="138" y="89"/>
                    </a:lnTo>
                    <a:lnTo>
                      <a:pt x="0" y="83"/>
                    </a:lnTo>
                    <a:close/>
                  </a:path>
                </a:pathLst>
              </a:custGeom>
              <a:solidFill>
                <a:srgbClr val="808080"/>
              </a:solidFill>
              <a:ln w="9525">
                <a:noFill/>
                <a:round/>
                <a:headEnd/>
                <a:tailEnd/>
              </a:ln>
              <a:effectLst/>
            </p:spPr>
            <p:txBody>
              <a:bodyPr/>
              <a:lstStyle/>
              <a:p>
                <a:endParaRPr lang="fr-FR"/>
              </a:p>
            </p:txBody>
          </p:sp>
          <p:sp>
            <p:nvSpPr>
              <p:cNvPr id="40" name="Freeform 43">
                <a:extLst>
                  <a:ext uri="{FF2B5EF4-FFF2-40B4-BE49-F238E27FC236}">
                    <a16:creationId xmlns:a16="http://schemas.microsoft.com/office/drawing/2014/main" id="{5B1F5FE2-E52C-0E17-3852-27A48E4270F1}"/>
                  </a:ext>
                </a:extLst>
              </p:cNvPr>
              <p:cNvSpPr>
                <a:spLocks/>
              </p:cNvSpPr>
              <p:nvPr/>
            </p:nvSpPr>
            <p:spPr bwMode="gray">
              <a:xfrm>
                <a:off x="1696" y="1918"/>
                <a:ext cx="725" cy="113"/>
              </a:xfrm>
              <a:custGeom>
                <a:avLst/>
                <a:gdLst/>
                <a:ahLst/>
                <a:cxnLst>
                  <a:cxn ang="0">
                    <a:pos x="0" y="0"/>
                  </a:cxn>
                  <a:cxn ang="0">
                    <a:pos x="0" y="89"/>
                  </a:cxn>
                  <a:cxn ang="0">
                    <a:pos x="465" y="113"/>
                  </a:cxn>
                  <a:cxn ang="0">
                    <a:pos x="725" y="39"/>
                  </a:cxn>
                  <a:cxn ang="0">
                    <a:pos x="0" y="0"/>
                  </a:cxn>
                </a:cxnLst>
                <a:rect l="0" t="0" r="r" b="b"/>
                <a:pathLst>
                  <a:path w="725" h="113">
                    <a:moveTo>
                      <a:pt x="0" y="0"/>
                    </a:moveTo>
                    <a:lnTo>
                      <a:pt x="0" y="89"/>
                    </a:lnTo>
                    <a:lnTo>
                      <a:pt x="465" y="113"/>
                    </a:lnTo>
                    <a:lnTo>
                      <a:pt x="725" y="39"/>
                    </a:lnTo>
                    <a:lnTo>
                      <a:pt x="0" y="0"/>
                    </a:lnTo>
                    <a:close/>
                  </a:path>
                </a:pathLst>
              </a:custGeom>
              <a:solidFill>
                <a:srgbClr val="EAEAEA"/>
              </a:solidFill>
              <a:ln w="9525">
                <a:noFill/>
                <a:round/>
                <a:headEnd/>
                <a:tailEnd/>
              </a:ln>
              <a:effectLst/>
            </p:spPr>
            <p:txBody>
              <a:bodyPr/>
              <a:lstStyle/>
              <a:p>
                <a:endParaRPr lang="fr-FR"/>
              </a:p>
            </p:txBody>
          </p:sp>
          <p:sp>
            <p:nvSpPr>
              <p:cNvPr id="41" name="Freeform 44">
                <a:extLst>
                  <a:ext uri="{FF2B5EF4-FFF2-40B4-BE49-F238E27FC236}">
                    <a16:creationId xmlns:a16="http://schemas.microsoft.com/office/drawing/2014/main" id="{C84658A9-FAB1-A194-816D-D7EBF2708AC1}"/>
                  </a:ext>
                </a:extLst>
              </p:cNvPr>
              <p:cNvSpPr>
                <a:spLocks/>
              </p:cNvSpPr>
              <p:nvPr/>
            </p:nvSpPr>
            <p:spPr bwMode="gray">
              <a:xfrm>
                <a:off x="2161" y="1957"/>
                <a:ext cx="260" cy="728"/>
              </a:xfrm>
              <a:custGeom>
                <a:avLst/>
                <a:gdLst/>
                <a:ahLst/>
                <a:cxnLst>
                  <a:cxn ang="0">
                    <a:pos x="260" y="0"/>
                  </a:cxn>
                  <a:cxn ang="0">
                    <a:pos x="0" y="74"/>
                  </a:cxn>
                  <a:cxn ang="0">
                    <a:pos x="0" y="667"/>
                  </a:cxn>
                  <a:cxn ang="0">
                    <a:pos x="260" y="728"/>
                  </a:cxn>
                  <a:cxn ang="0">
                    <a:pos x="260" y="0"/>
                  </a:cxn>
                </a:cxnLst>
                <a:rect l="0" t="0" r="r" b="b"/>
                <a:pathLst>
                  <a:path w="260" h="728">
                    <a:moveTo>
                      <a:pt x="260" y="0"/>
                    </a:moveTo>
                    <a:lnTo>
                      <a:pt x="0" y="74"/>
                    </a:lnTo>
                    <a:lnTo>
                      <a:pt x="0" y="667"/>
                    </a:lnTo>
                    <a:lnTo>
                      <a:pt x="260" y="728"/>
                    </a:lnTo>
                    <a:lnTo>
                      <a:pt x="260" y="0"/>
                    </a:lnTo>
                    <a:close/>
                  </a:path>
                </a:pathLst>
              </a:custGeom>
              <a:solidFill>
                <a:srgbClr val="D1D1D1"/>
              </a:solidFill>
              <a:ln w="9525">
                <a:noFill/>
                <a:round/>
                <a:headEnd/>
                <a:tailEnd/>
              </a:ln>
              <a:effectLst/>
            </p:spPr>
            <p:txBody>
              <a:bodyPr/>
              <a:lstStyle/>
              <a:p>
                <a:endParaRPr lang="fr-FR"/>
              </a:p>
            </p:txBody>
          </p:sp>
          <p:sp>
            <p:nvSpPr>
              <p:cNvPr id="42" name="Freeform 45">
                <a:extLst>
                  <a:ext uri="{FF2B5EF4-FFF2-40B4-BE49-F238E27FC236}">
                    <a16:creationId xmlns:a16="http://schemas.microsoft.com/office/drawing/2014/main" id="{88231EC6-D7D0-F13E-03FD-DE796399FB15}"/>
                  </a:ext>
                </a:extLst>
              </p:cNvPr>
              <p:cNvSpPr>
                <a:spLocks/>
              </p:cNvSpPr>
              <p:nvPr/>
            </p:nvSpPr>
            <p:spPr bwMode="gray">
              <a:xfrm>
                <a:off x="1696" y="2624"/>
                <a:ext cx="725" cy="93"/>
              </a:xfrm>
              <a:custGeom>
                <a:avLst/>
                <a:gdLst/>
                <a:ahLst/>
                <a:cxnLst>
                  <a:cxn ang="0">
                    <a:pos x="0" y="15"/>
                  </a:cxn>
                  <a:cxn ang="0">
                    <a:pos x="465" y="0"/>
                  </a:cxn>
                  <a:cxn ang="0">
                    <a:pos x="725" y="61"/>
                  </a:cxn>
                  <a:cxn ang="0">
                    <a:pos x="0" y="93"/>
                  </a:cxn>
                  <a:cxn ang="0">
                    <a:pos x="0" y="15"/>
                  </a:cxn>
                </a:cxnLst>
                <a:rect l="0" t="0" r="r" b="b"/>
                <a:pathLst>
                  <a:path w="725" h="93">
                    <a:moveTo>
                      <a:pt x="0" y="15"/>
                    </a:moveTo>
                    <a:lnTo>
                      <a:pt x="465" y="0"/>
                    </a:lnTo>
                    <a:lnTo>
                      <a:pt x="725" y="61"/>
                    </a:lnTo>
                    <a:lnTo>
                      <a:pt x="0" y="93"/>
                    </a:lnTo>
                    <a:lnTo>
                      <a:pt x="0" y="15"/>
                    </a:lnTo>
                    <a:close/>
                  </a:path>
                </a:pathLst>
              </a:custGeom>
              <a:solidFill>
                <a:srgbClr val="B2B2B2"/>
              </a:solidFill>
              <a:ln w="9525">
                <a:noFill/>
                <a:round/>
                <a:headEnd/>
                <a:tailEnd/>
              </a:ln>
              <a:effectLst/>
            </p:spPr>
            <p:txBody>
              <a:bodyPr/>
              <a:lstStyle/>
              <a:p>
                <a:endParaRPr lang="fr-FR"/>
              </a:p>
            </p:txBody>
          </p:sp>
          <p:sp>
            <p:nvSpPr>
              <p:cNvPr id="43" name="Freeform 46">
                <a:extLst>
                  <a:ext uri="{FF2B5EF4-FFF2-40B4-BE49-F238E27FC236}">
                    <a16:creationId xmlns:a16="http://schemas.microsoft.com/office/drawing/2014/main" id="{B63007A2-9150-0933-92CC-DF29CC9BC221}"/>
                  </a:ext>
                </a:extLst>
              </p:cNvPr>
              <p:cNvSpPr>
                <a:spLocks/>
              </p:cNvSpPr>
              <p:nvPr/>
            </p:nvSpPr>
            <p:spPr bwMode="gray">
              <a:xfrm>
                <a:off x="1558" y="2639"/>
                <a:ext cx="138" cy="78"/>
              </a:xfrm>
              <a:custGeom>
                <a:avLst/>
                <a:gdLst/>
                <a:ahLst/>
                <a:cxnLst>
                  <a:cxn ang="0">
                    <a:pos x="138" y="78"/>
                  </a:cxn>
                  <a:cxn ang="0">
                    <a:pos x="0" y="3"/>
                  </a:cxn>
                  <a:cxn ang="0">
                    <a:pos x="138" y="0"/>
                  </a:cxn>
                  <a:cxn ang="0">
                    <a:pos x="138" y="78"/>
                  </a:cxn>
                </a:cxnLst>
                <a:rect l="0" t="0" r="r" b="b"/>
                <a:pathLst>
                  <a:path w="138" h="78">
                    <a:moveTo>
                      <a:pt x="138" y="78"/>
                    </a:moveTo>
                    <a:lnTo>
                      <a:pt x="0" y="3"/>
                    </a:lnTo>
                    <a:lnTo>
                      <a:pt x="138" y="0"/>
                    </a:lnTo>
                    <a:lnTo>
                      <a:pt x="138" y="78"/>
                    </a:lnTo>
                    <a:close/>
                  </a:path>
                </a:pathLst>
              </a:custGeom>
              <a:solidFill>
                <a:srgbClr val="000000"/>
              </a:solidFill>
              <a:ln w="9525">
                <a:noFill/>
                <a:round/>
                <a:headEnd/>
                <a:tailEnd/>
              </a:ln>
            </p:spPr>
            <p:txBody>
              <a:bodyPr/>
              <a:lstStyle/>
              <a:p>
                <a:endParaRPr lang="fr-FR"/>
              </a:p>
            </p:txBody>
          </p:sp>
          <p:sp>
            <p:nvSpPr>
              <p:cNvPr id="44" name="Text Box 97">
                <a:extLst>
                  <a:ext uri="{FF2B5EF4-FFF2-40B4-BE49-F238E27FC236}">
                    <a16:creationId xmlns:a16="http://schemas.microsoft.com/office/drawing/2014/main" id="{FF0F2EE9-4B9F-60D6-0D8E-4FB8CD8E2AEE}"/>
                  </a:ext>
                </a:extLst>
              </p:cNvPr>
              <p:cNvSpPr txBox="1">
                <a:spLocks noChangeArrowheads="1"/>
              </p:cNvSpPr>
              <p:nvPr/>
            </p:nvSpPr>
            <p:spPr bwMode="gray">
              <a:xfrm>
                <a:off x="1689" y="2175"/>
                <a:ext cx="731" cy="291"/>
              </a:xfrm>
              <a:prstGeom prst="rect">
                <a:avLst/>
              </a:prstGeom>
              <a:noFill/>
              <a:ln w="9525">
                <a:noFill/>
                <a:miter lim="800000"/>
                <a:headEnd/>
                <a:tailEnd/>
              </a:ln>
            </p:spPr>
            <p:txBody>
              <a:bodyPr wrap="none" anchor="ctr">
                <a:spAutoFit/>
              </a:bodyPr>
              <a:lstStyle/>
              <a:p>
                <a:pPr algn="ctr"/>
                <a:r>
                  <a:rPr lang="fr-CA" sz="1200" b="1" noProof="1"/>
                  <a:t>Risk </a:t>
                </a:r>
              </a:p>
              <a:p>
                <a:pPr algn="ctr"/>
                <a:r>
                  <a:rPr lang="fr-CA" sz="1200" b="1" noProof="1"/>
                  <a:t>Assessment</a:t>
                </a:r>
              </a:p>
            </p:txBody>
          </p:sp>
        </p:grpSp>
        <p:sp>
          <p:nvSpPr>
            <p:cNvPr id="45" name="Text Box 98">
              <a:extLst>
                <a:ext uri="{FF2B5EF4-FFF2-40B4-BE49-F238E27FC236}">
                  <a16:creationId xmlns:a16="http://schemas.microsoft.com/office/drawing/2014/main" id="{251BFE31-F1EC-F185-DE29-7D63F2E63679}"/>
                </a:ext>
              </a:extLst>
            </p:cNvPr>
            <p:cNvSpPr txBox="1">
              <a:spLocks noChangeArrowheads="1"/>
            </p:cNvSpPr>
            <p:nvPr/>
          </p:nvSpPr>
          <p:spPr bwMode="gray">
            <a:xfrm>
              <a:off x="6757988" y="2537666"/>
              <a:ext cx="231154" cy="292388"/>
            </a:xfrm>
            <a:prstGeom prst="rect">
              <a:avLst/>
            </a:prstGeom>
            <a:noFill/>
            <a:ln w="9525">
              <a:noFill/>
              <a:miter lim="800000"/>
              <a:headEnd/>
              <a:tailEnd/>
            </a:ln>
          </p:spPr>
          <p:txBody>
            <a:bodyPr wrap="none" anchor="ctr">
              <a:spAutoFit/>
            </a:bodyPr>
            <a:lstStyle/>
            <a:p>
              <a:pPr algn="ctr"/>
              <a:r>
                <a:rPr lang="en-US" sz="1300" b="1" noProof="1"/>
                <a:t> </a:t>
              </a:r>
            </a:p>
          </p:txBody>
        </p:sp>
        <p:sp>
          <p:nvSpPr>
            <p:cNvPr id="46" name="Text Box 99">
              <a:extLst>
                <a:ext uri="{FF2B5EF4-FFF2-40B4-BE49-F238E27FC236}">
                  <a16:creationId xmlns:a16="http://schemas.microsoft.com/office/drawing/2014/main" id="{79000678-63EB-E572-8FBB-2A540454C1EF}"/>
                </a:ext>
              </a:extLst>
            </p:cNvPr>
            <p:cNvSpPr txBox="1">
              <a:spLocks noChangeArrowheads="1"/>
            </p:cNvSpPr>
            <p:nvPr/>
          </p:nvSpPr>
          <p:spPr bwMode="gray">
            <a:xfrm>
              <a:off x="7983088" y="2482669"/>
              <a:ext cx="1326004" cy="461665"/>
            </a:xfrm>
            <a:prstGeom prst="rect">
              <a:avLst/>
            </a:prstGeom>
            <a:noFill/>
            <a:ln w="9525">
              <a:noFill/>
              <a:miter lim="800000"/>
              <a:headEnd/>
              <a:tailEnd/>
            </a:ln>
          </p:spPr>
          <p:txBody>
            <a:bodyPr wrap="none" anchor="ctr">
              <a:spAutoFit/>
            </a:bodyPr>
            <a:lstStyle/>
            <a:p>
              <a:r>
                <a:rPr lang="en-US" sz="1200" b="1" noProof="1"/>
                <a:t>Sustainability </a:t>
              </a:r>
            </a:p>
            <a:p>
              <a:r>
                <a:rPr lang="en-US" sz="1200" b="1" noProof="1"/>
                <a:t>Objectives</a:t>
              </a:r>
            </a:p>
          </p:txBody>
        </p:sp>
        <p:sp>
          <p:nvSpPr>
            <p:cNvPr id="47" name="Text Box 100">
              <a:extLst>
                <a:ext uri="{FF2B5EF4-FFF2-40B4-BE49-F238E27FC236}">
                  <a16:creationId xmlns:a16="http://schemas.microsoft.com/office/drawing/2014/main" id="{8F3E54C3-C670-8DDF-6E0E-6144276F5407}"/>
                </a:ext>
              </a:extLst>
            </p:cNvPr>
            <p:cNvSpPr txBox="1">
              <a:spLocks noChangeArrowheads="1"/>
            </p:cNvSpPr>
            <p:nvPr/>
          </p:nvSpPr>
          <p:spPr bwMode="gray">
            <a:xfrm>
              <a:off x="6153651" y="2538060"/>
              <a:ext cx="1423788" cy="277000"/>
            </a:xfrm>
            <a:prstGeom prst="rect">
              <a:avLst/>
            </a:prstGeom>
            <a:noFill/>
            <a:ln w="9525">
              <a:noFill/>
              <a:miter lim="800000"/>
              <a:headEnd/>
              <a:tailEnd/>
            </a:ln>
          </p:spPr>
          <p:txBody>
            <a:bodyPr wrap="none" anchor="ctr">
              <a:spAutoFit/>
            </a:bodyPr>
            <a:lstStyle/>
            <a:p>
              <a:pPr algn="ctr"/>
              <a:r>
                <a:rPr lang="en-US" sz="1200" b="1" noProof="1"/>
                <a:t>Risk Treatment</a:t>
              </a:r>
            </a:p>
          </p:txBody>
        </p:sp>
      </p:grpSp>
      <p:sp>
        <p:nvSpPr>
          <p:cNvPr id="48" name="Titre 1">
            <a:extLst>
              <a:ext uri="{FF2B5EF4-FFF2-40B4-BE49-F238E27FC236}">
                <a16:creationId xmlns:a16="http://schemas.microsoft.com/office/drawing/2014/main" id="{24EBB94B-7D87-E1B6-8D86-F350B0524014}"/>
              </a:ext>
            </a:extLst>
          </p:cNvPr>
          <p:cNvSpPr txBox="1">
            <a:spLocks/>
          </p:cNvSpPr>
          <p:nvPr>
            <p:custDataLst>
              <p:tags r:id="rId1"/>
            </p:custDataLst>
          </p:nvPr>
        </p:nvSpPr>
        <p:spPr>
          <a:xfrm>
            <a:off x="779462" y="890471"/>
            <a:ext cx="10972800" cy="838200"/>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solidFill>
                  <a:srgbClr val="801619"/>
                </a:solidFill>
                <a:cs typeface="Arial" charset="0"/>
              </a:rPr>
              <a:t>Planning</a:t>
            </a:r>
          </a:p>
        </p:txBody>
      </p:sp>
      <p:sp>
        <p:nvSpPr>
          <p:cNvPr id="49" name="Titre 1">
            <a:extLst>
              <a:ext uri="{FF2B5EF4-FFF2-40B4-BE49-F238E27FC236}">
                <a16:creationId xmlns:a16="http://schemas.microsoft.com/office/drawing/2014/main" id="{433BA4C2-A59C-26ED-525C-27BA88B1A447}"/>
              </a:ext>
            </a:extLst>
          </p:cNvPr>
          <p:cNvSpPr txBox="1">
            <a:spLocks/>
          </p:cNvSpPr>
          <p:nvPr>
            <p:custDataLst>
              <p:tags r:id="rId2"/>
            </p:custDataLst>
          </p:nvPr>
        </p:nvSpPr>
        <p:spPr>
          <a:xfrm>
            <a:off x="779462" y="3987041"/>
            <a:ext cx="10972800" cy="838200"/>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b="1" dirty="0">
                <a:solidFill>
                  <a:srgbClr val="801619"/>
                </a:solidFill>
                <a:cs typeface="Arial" charset="0"/>
              </a:rPr>
              <a:t>Support</a:t>
            </a:r>
          </a:p>
        </p:txBody>
      </p:sp>
      <p:grpSp>
        <p:nvGrpSpPr>
          <p:cNvPr id="114" name="Group 113">
            <a:extLst>
              <a:ext uri="{FF2B5EF4-FFF2-40B4-BE49-F238E27FC236}">
                <a16:creationId xmlns:a16="http://schemas.microsoft.com/office/drawing/2014/main" id="{776E1245-8EA5-3D94-5EBC-51CABC673F91}"/>
              </a:ext>
            </a:extLst>
          </p:cNvPr>
          <p:cNvGrpSpPr/>
          <p:nvPr/>
        </p:nvGrpSpPr>
        <p:grpSpPr>
          <a:xfrm>
            <a:off x="1386840" y="4728744"/>
            <a:ext cx="9418320" cy="1732904"/>
            <a:chOff x="2242344" y="4540703"/>
            <a:chExt cx="8076406" cy="1732904"/>
          </a:xfrm>
        </p:grpSpPr>
        <p:pic>
          <p:nvPicPr>
            <p:cNvPr id="66" name="Picture 13">
              <a:extLst>
                <a:ext uri="{FF2B5EF4-FFF2-40B4-BE49-F238E27FC236}">
                  <a16:creationId xmlns:a16="http://schemas.microsoft.com/office/drawing/2014/main" id="{0290D037-DE1C-F5CD-6449-EE71D7137B54}"/>
                </a:ext>
              </a:extLst>
            </p:cNvPr>
            <p:cNvPicPr>
              <a:picLocks noChangeAspect="1" noChangeArrowheads="1"/>
            </p:cNvPicPr>
            <p:nvPr/>
          </p:nvPicPr>
          <p:blipFill>
            <a:blip r:embed="rId5" cstate="print">
              <a:lum bright="18000"/>
            </a:blip>
            <a:srcRect/>
            <a:stretch>
              <a:fillRect/>
            </a:stretch>
          </p:blipFill>
          <p:spPr bwMode="gray">
            <a:xfrm>
              <a:off x="4797426" y="5504315"/>
              <a:ext cx="2576513" cy="665163"/>
            </a:xfrm>
            <a:prstGeom prst="rect">
              <a:avLst/>
            </a:prstGeom>
            <a:noFill/>
          </p:spPr>
        </p:pic>
        <p:pic>
          <p:nvPicPr>
            <p:cNvPr id="67" name="Picture 3">
              <a:extLst>
                <a:ext uri="{FF2B5EF4-FFF2-40B4-BE49-F238E27FC236}">
                  <a16:creationId xmlns:a16="http://schemas.microsoft.com/office/drawing/2014/main" id="{8A49CD85-9201-2FF5-4184-1E6A1F5872D5}"/>
                </a:ext>
              </a:extLst>
            </p:cNvPr>
            <p:cNvPicPr>
              <a:picLocks noChangeAspect="1" noChangeArrowheads="1"/>
            </p:cNvPicPr>
            <p:nvPr/>
          </p:nvPicPr>
          <p:blipFill>
            <a:blip r:embed="rId5" cstate="print">
              <a:lum bright="18000"/>
            </a:blip>
            <a:srcRect/>
            <a:stretch>
              <a:fillRect/>
            </a:stretch>
          </p:blipFill>
          <p:spPr bwMode="gray">
            <a:xfrm>
              <a:off x="6169026" y="5475740"/>
              <a:ext cx="2576513" cy="665163"/>
            </a:xfrm>
            <a:prstGeom prst="rect">
              <a:avLst/>
            </a:prstGeom>
            <a:noFill/>
          </p:spPr>
        </p:pic>
        <p:pic>
          <p:nvPicPr>
            <p:cNvPr id="68" name="Picture 4">
              <a:extLst>
                <a:ext uri="{FF2B5EF4-FFF2-40B4-BE49-F238E27FC236}">
                  <a16:creationId xmlns:a16="http://schemas.microsoft.com/office/drawing/2014/main" id="{B051BDB4-EE35-0AAE-353D-9E9C7C441B72}"/>
                </a:ext>
              </a:extLst>
            </p:cNvPr>
            <p:cNvPicPr>
              <a:picLocks noChangeAspect="1" noChangeArrowheads="1"/>
            </p:cNvPicPr>
            <p:nvPr/>
          </p:nvPicPr>
          <p:blipFill>
            <a:blip r:embed="rId5" cstate="print">
              <a:lum bright="18000"/>
            </a:blip>
            <a:srcRect/>
            <a:stretch>
              <a:fillRect/>
            </a:stretch>
          </p:blipFill>
          <p:spPr bwMode="gray">
            <a:xfrm>
              <a:off x="3438526" y="5555115"/>
              <a:ext cx="2576513" cy="665163"/>
            </a:xfrm>
            <a:prstGeom prst="rect">
              <a:avLst/>
            </a:prstGeom>
            <a:noFill/>
          </p:spPr>
        </p:pic>
        <p:pic>
          <p:nvPicPr>
            <p:cNvPr id="69" name="Picture 5">
              <a:extLst>
                <a:ext uri="{FF2B5EF4-FFF2-40B4-BE49-F238E27FC236}">
                  <a16:creationId xmlns:a16="http://schemas.microsoft.com/office/drawing/2014/main" id="{1A440E98-64C6-9354-5E49-3AE0095AC7F7}"/>
                </a:ext>
              </a:extLst>
            </p:cNvPr>
            <p:cNvPicPr>
              <a:picLocks noChangeAspect="1" noChangeArrowheads="1"/>
            </p:cNvPicPr>
            <p:nvPr/>
          </p:nvPicPr>
          <p:blipFill>
            <a:blip r:embed="rId5" cstate="print">
              <a:lum bright="18000"/>
            </a:blip>
            <a:srcRect/>
            <a:stretch>
              <a:fillRect/>
            </a:stretch>
          </p:blipFill>
          <p:spPr bwMode="gray">
            <a:xfrm>
              <a:off x="7742238" y="5567815"/>
              <a:ext cx="2576512" cy="665163"/>
            </a:xfrm>
            <a:prstGeom prst="rect">
              <a:avLst/>
            </a:prstGeom>
            <a:noFill/>
          </p:spPr>
        </p:pic>
        <p:grpSp>
          <p:nvGrpSpPr>
            <p:cNvPr id="71" name="Group 94">
              <a:extLst>
                <a:ext uri="{FF2B5EF4-FFF2-40B4-BE49-F238E27FC236}">
                  <a16:creationId xmlns:a16="http://schemas.microsoft.com/office/drawing/2014/main" id="{4D222358-45EE-0EC5-157A-B1B8BE341AE6}"/>
                </a:ext>
              </a:extLst>
            </p:cNvPr>
            <p:cNvGrpSpPr>
              <a:grpSpLocks/>
            </p:cNvGrpSpPr>
            <p:nvPr/>
          </p:nvGrpSpPr>
          <p:grpSpPr bwMode="auto">
            <a:xfrm>
              <a:off x="5510214" y="4705802"/>
              <a:ext cx="1157287" cy="1155700"/>
              <a:chOff x="2511" y="1957"/>
              <a:chExt cx="729" cy="728"/>
            </a:xfrm>
          </p:grpSpPr>
          <p:sp>
            <p:nvSpPr>
              <p:cNvPr id="72" name="Rectangle 35">
                <a:extLst>
                  <a:ext uri="{FF2B5EF4-FFF2-40B4-BE49-F238E27FC236}">
                    <a16:creationId xmlns:a16="http://schemas.microsoft.com/office/drawing/2014/main" id="{1E4954D7-A638-35BF-6EC9-99DD6ACF4945}"/>
                  </a:ext>
                </a:extLst>
              </p:cNvPr>
              <p:cNvSpPr>
                <a:spLocks noChangeArrowheads="1"/>
              </p:cNvSpPr>
              <p:nvPr/>
            </p:nvSpPr>
            <p:spPr bwMode="gray">
              <a:xfrm>
                <a:off x="2511" y="1957"/>
                <a:ext cx="729" cy="728"/>
              </a:xfrm>
              <a:prstGeom prst="rect">
                <a:avLst/>
              </a:prstGeom>
              <a:gradFill rotWithShape="1">
                <a:gsLst>
                  <a:gs pos="0">
                    <a:srgbClr val="C9C9C9"/>
                  </a:gs>
                  <a:gs pos="100000">
                    <a:srgbClr val="C9C9C9">
                      <a:gamma/>
                      <a:tint val="0"/>
                      <a:invGamma/>
                    </a:srgbClr>
                  </a:gs>
                </a:gsLst>
                <a:lin ang="2700000" scaled="1"/>
              </a:gradFill>
              <a:ln w="9525">
                <a:noFill/>
                <a:miter lim="800000"/>
                <a:headEnd/>
                <a:tailEnd/>
              </a:ln>
              <a:effectLst/>
            </p:spPr>
            <p:txBody>
              <a:bodyPr/>
              <a:lstStyle/>
              <a:p>
                <a:endParaRPr lang="fr-FR" sz="1300"/>
              </a:p>
            </p:txBody>
          </p:sp>
          <p:sp>
            <p:nvSpPr>
              <p:cNvPr id="73" name="Freeform 36">
                <a:extLst>
                  <a:ext uri="{FF2B5EF4-FFF2-40B4-BE49-F238E27FC236}">
                    <a16:creationId xmlns:a16="http://schemas.microsoft.com/office/drawing/2014/main" id="{26D8EA32-FCB4-CDEC-4F1C-5C2A6E237F97}"/>
                  </a:ext>
                </a:extLst>
              </p:cNvPr>
              <p:cNvSpPr>
                <a:spLocks/>
              </p:cNvSpPr>
              <p:nvPr/>
            </p:nvSpPr>
            <p:spPr bwMode="gray">
              <a:xfrm>
                <a:off x="2511" y="1957"/>
                <a:ext cx="729" cy="80"/>
              </a:xfrm>
              <a:custGeom>
                <a:avLst/>
                <a:gdLst/>
                <a:ahLst/>
                <a:cxnLst>
                  <a:cxn ang="0">
                    <a:pos x="50" y="80"/>
                  </a:cxn>
                  <a:cxn ang="0">
                    <a:pos x="0" y="0"/>
                  </a:cxn>
                  <a:cxn ang="0">
                    <a:pos x="729" y="0"/>
                  </a:cxn>
                  <a:cxn ang="0">
                    <a:pos x="675" y="80"/>
                  </a:cxn>
                  <a:cxn ang="0">
                    <a:pos x="50" y="80"/>
                  </a:cxn>
                </a:cxnLst>
                <a:rect l="0" t="0" r="r" b="b"/>
                <a:pathLst>
                  <a:path w="729" h="80">
                    <a:moveTo>
                      <a:pt x="50" y="80"/>
                    </a:moveTo>
                    <a:lnTo>
                      <a:pt x="0" y="0"/>
                    </a:lnTo>
                    <a:lnTo>
                      <a:pt x="729" y="0"/>
                    </a:lnTo>
                    <a:lnTo>
                      <a:pt x="675" y="80"/>
                    </a:lnTo>
                    <a:lnTo>
                      <a:pt x="50" y="80"/>
                    </a:lnTo>
                    <a:close/>
                  </a:path>
                </a:pathLst>
              </a:custGeom>
              <a:solidFill>
                <a:srgbClr val="EAEAEA"/>
              </a:solidFill>
              <a:ln w="9525">
                <a:noFill/>
                <a:round/>
                <a:headEnd/>
                <a:tailEnd/>
              </a:ln>
              <a:effectLst/>
            </p:spPr>
            <p:txBody>
              <a:bodyPr/>
              <a:lstStyle/>
              <a:p>
                <a:endParaRPr lang="fr-FR" sz="1300"/>
              </a:p>
            </p:txBody>
          </p:sp>
          <p:sp>
            <p:nvSpPr>
              <p:cNvPr id="74" name="Freeform 37">
                <a:extLst>
                  <a:ext uri="{FF2B5EF4-FFF2-40B4-BE49-F238E27FC236}">
                    <a16:creationId xmlns:a16="http://schemas.microsoft.com/office/drawing/2014/main" id="{0A710B71-DC98-EF9C-D649-D94FAF06048B}"/>
                  </a:ext>
                </a:extLst>
              </p:cNvPr>
              <p:cNvSpPr>
                <a:spLocks/>
              </p:cNvSpPr>
              <p:nvPr/>
            </p:nvSpPr>
            <p:spPr bwMode="gray">
              <a:xfrm>
                <a:off x="2511" y="2621"/>
                <a:ext cx="729" cy="64"/>
              </a:xfrm>
              <a:custGeom>
                <a:avLst/>
                <a:gdLst/>
                <a:ahLst/>
                <a:cxnLst>
                  <a:cxn ang="0">
                    <a:pos x="48" y="0"/>
                  </a:cxn>
                  <a:cxn ang="0">
                    <a:pos x="672" y="0"/>
                  </a:cxn>
                  <a:cxn ang="0">
                    <a:pos x="729" y="64"/>
                  </a:cxn>
                  <a:cxn ang="0">
                    <a:pos x="0" y="64"/>
                  </a:cxn>
                  <a:cxn ang="0">
                    <a:pos x="48" y="0"/>
                  </a:cxn>
                </a:cxnLst>
                <a:rect l="0" t="0" r="r" b="b"/>
                <a:pathLst>
                  <a:path w="729" h="64">
                    <a:moveTo>
                      <a:pt x="48" y="0"/>
                    </a:moveTo>
                    <a:lnTo>
                      <a:pt x="672" y="0"/>
                    </a:lnTo>
                    <a:lnTo>
                      <a:pt x="729" y="64"/>
                    </a:lnTo>
                    <a:lnTo>
                      <a:pt x="0" y="64"/>
                    </a:lnTo>
                    <a:lnTo>
                      <a:pt x="48" y="0"/>
                    </a:lnTo>
                    <a:close/>
                  </a:path>
                </a:pathLst>
              </a:custGeom>
              <a:solidFill>
                <a:srgbClr val="B2B2B2"/>
              </a:solidFill>
              <a:ln w="9525">
                <a:noFill/>
                <a:round/>
                <a:headEnd/>
                <a:tailEnd/>
              </a:ln>
              <a:effectLst/>
            </p:spPr>
            <p:txBody>
              <a:bodyPr/>
              <a:lstStyle/>
              <a:p>
                <a:endParaRPr lang="fr-FR" sz="1300"/>
              </a:p>
            </p:txBody>
          </p:sp>
          <p:sp>
            <p:nvSpPr>
              <p:cNvPr id="75" name="Freeform 38">
                <a:extLst>
                  <a:ext uri="{FF2B5EF4-FFF2-40B4-BE49-F238E27FC236}">
                    <a16:creationId xmlns:a16="http://schemas.microsoft.com/office/drawing/2014/main" id="{8A9BFDC9-C9F8-8550-2DF6-20897CBEAF1F}"/>
                  </a:ext>
                </a:extLst>
              </p:cNvPr>
              <p:cNvSpPr>
                <a:spLocks/>
              </p:cNvSpPr>
              <p:nvPr/>
            </p:nvSpPr>
            <p:spPr bwMode="gray">
              <a:xfrm>
                <a:off x="2511" y="1957"/>
                <a:ext cx="50" cy="728"/>
              </a:xfrm>
              <a:custGeom>
                <a:avLst/>
                <a:gdLst/>
                <a:ahLst/>
                <a:cxnLst>
                  <a:cxn ang="0">
                    <a:pos x="95" y="80"/>
                  </a:cxn>
                  <a:cxn ang="0">
                    <a:pos x="95" y="663"/>
                  </a:cxn>
                  <a:cxn ang="0">
                    <a:pos x="0" y="728"/>
                  </a:cxn>
                  <a:cxn ang="0">
                    <a:pos x="0" y="0"/>
                  </a:cxn>
                  <a:cxn ang="0">
                    <a:pos x="95" y="80"/>
                  </a:cxn>
                </a:cxnLst>
                <a:rect l="0" t="0" r="r" b="b"/>
                <a:pathLst>
                  <a:path w="95" h="728">
                    <a:moveTo>
                      <a:pt x="95" y="80"/>
                    </a:moveTo>
                    <a:lnTo>
                      <a:pt x="95" y="663"/>
                    </a:lnTo>
                    <a:lnTo>
                      <a:pt x="0" y="728"/>
                    </a:lnTo>
                    <a:lnTo>
                      <a:pt x="0" y="0"/>
                    </a:lnTo>
                    <a:lnTo>
                      <a:pt x="95" y="80"/>
                    </a:lnTo>
                    <a:close/>
                  </a:path>
                </a:pathLst>
              </a:custGeom>
              <a:solidFill>
                <a:srgbClr val="BEBEBE"/>
              </a:solidFill>
              <a:ln w="9525">
                <a:noFill/>
                <a:round/>
                <a:headEnd/>
                <a:tailEnd/>
              </a:ln>
              <a:effectLst/>
            </p:spPr>
            <p:txBody>
              <a:bodyPr/>
              <a:lstStyle/>
              <a:p>
                <a:endParaRPr lang="fr-FR" sz="1300"/>
              </a:p>
            </p:txBody>
          </p:sp>
          <p:sp>
            <p:nvSpPr>
              <p:cNvPr id="76" name="Freeform 39">
                <a:extLst>
                  <a:ext uri="{FF2B5EF4-FFF2-40B4-BE49-F238E27FC236}">
                    <a16:creationId xmlns:a16="http://schemas.microsoft.com/office/drawing/2014/main" id="{2434EAE9-429F-C7C2-9E35-B7F9A00A25DA}"/>
                  </a:ext>
                </a:extLst>
              </p:cNvPr>
              <p:cNvSpPr>
                <a:spLocks/>
              </p:cNvSpPr>
              <p:nvPr/>
            </p:nvSpPr>
            <p:spPr bwMode="gray">
              <a:xfrm>
                <a:off x="3186" y="1957"/>
                <a:ext cx="54" cy="728"/>
              </a:xfrm>
              <a:custGeom>
                <a:avLst/>
                <a:gdLst/>
                <a:ahLst/>
                <a:cxnLst>
                  <a:cxn ang="0">
                    <a:pos x="0" y="80"/>
                  </a:cxn>
                  <a:cxn ang="0">
                    <a:pos x="0" y="663"/>
                  </a:cxn>
                  <a:cxn ang="0">
                    <a:pos x="102" y="728"/>
                  </a:cxn>
                  <a:cxn ang="0">
                    <a:pos x="102" y="0"/>
                  </a:cxn>
                  <a:cxn ang="0">
                    <a:pos x="0" y="80"/>
                  </a:cxn>
                </a:cxnLst>
                <a:rect l="0" t="0" r="r" b="b"/>
                <a:pathLst>
                  <a:path w="102" h="728">
                    <a:moveTo>
                      <a:pt x="0" y="80"/>
                    </a:moveTo>
                    <a:lnTo>
                      <a:pt x="0" y="663"/>
                    </a:lnTo>
                    <a:lnTo>
                      <a:pt x="102" y="728"/>
                    </a:lnTo>
                    <a:lnTo>
                      <a:pt x="102" y="0"/>
                    </a:lnTo>
                    <a:lnTo>
                      <a:pt x="0" y="80"/>
                    </a:lnTo>
                    <a:close/>
                  </a:path>
                </a:pathLst>
              </a:custGeom>
              <a:solidFill>
                <a:srgbClr val="D1D1D1"/>
              </a:solidFill>
              <a:ln w="9525">
                <a:noFill/>
                <a:round/>
                <a:headEnd/>
                <a:tailEnd/>
              </a:ln>
              <a:effectLst/>
            </p:spPr>
            <p:txBody>
              <a:bodyPr/>
              <a:lstStyle/>
              <a:p>
                <a:endParaRPr lang="fr-FR" sz="1300"/>
              </a:p>
            </p:txBody>
          </p:sp>
        </p:grpSp>
        <p:grpSp>
          <p:nvGrpSpPr>
            <p:cNvPr id="77" name="Group 83">
              <a:extLst>
                <a:ext uri="{FF2B5EF4-FFF2-40B4-BE49-F238E27FC236}">
                  <a16:creationId xmlns:a16="http://schemas.microsoft.com/office/drawing/2014/main" id="{EC71B1E7-3CB6-6027-3A59-5B4E160374DF}"/>
                </a:ext>
              </a:extLst>
            </p:cNvPr>
            <p:cNvGrpSpPr>
              <a:grpSpLocks/>
            </p:cNvGrpSpPr>
            <p:nvPr/>
          </p:nvGrpSpPr>
          <p:grpSpPr bwMode="auto">
            <a:xfrm>
              <a:off x="6818313" y="4643890"/>
              <a:ext cx="1370012" cy="1268413"/>
              <a:chOff x="3335" y="1918"/>
              <a:chExt cx="863" cy="799"/>
            </a:xfrm>
          </p:grpSpPr>
          <p:sp>
            <p:nvSpPr>
              <p:cNvPr id="78" name="Freeform 47">
                <a:extLst>
                  <a:ext uri="{FF2B5EF4-FFF2-40B4-BE49-F238E27FC236}">
                    <a16:creationId xmlns:a16="http://schemas.microsoft.com/office/drawing/2014/main" id="{370D39E2-83E9-4996-CFC3-A9B634F675D9}"/>
                  </a:ext>
                </a:extLst>
              </p:cNvPr>
              <p:cNvSpPr>
                <a:spLocks/>
              </p:cNvSpPr>
              <p:nvPr/>
            </p:nvSpPr>
            <p:spPr bwMode="gray">
              <a:xfrm>
                <a:off x="3335" y="1918"/>
                <a:ext cx="723" cy="799"/>
              </a:xfrm>
              <a:custGeom>
                <a:avLst/>
                <a:gdLst/>
                <a:ahLst/>
                <a:cxnLst>
                  <a:cxn ang="0">
                    <a:pos x="723" y="799"/>
                  </a:cxn>
                  <a:cxn ang="0">
                    <a:pos x="723" y="0"/>
                  </a:cxn>
                  <a:cxn ang="0">
                    <a:pos x="0" y="39"/>
                  </a:cxn>
                  <a:cxn ang="0">
                    <a:pos x="0" y="767"/>
                  </a:cxn>
                  <a:cxn ang="0">
                    <a:pos x="723" y="799"/>
                  </a:cxn>
                </a:cxnLst>
                <a:rect l="0" t="0" r="r" b="b"/>
                <a:pathLst>
                  <a:path w="723" h="799">
                    <a:moveTo>
                      <a:pt x="723" y="799"/>
                    </a:moveTo>
                    <a:lnTo>
                      <a:pt x="723" y="0"/>
                    </a:lnTo>
                    <a:lnTo>
                      <a:pt x="0" y="39"/>
                    </a:lnTo>
                    <a:lnTo>
                      <a:pt x="0" y="767"/>
                    </a:lnTo>
                    <a:lnTo>
                      <a:pt x="723" y="799"/>
                    </a:lnTo>
                    <a:close/>
                  </a:path>
                </a:pathLst>
              </a:custGeom>
              <a:gradFill rotWithShape="1">
                <a:gsLst>
                  <a:gs pos="0">
                    <a:srgbClr val="C9C9C9"/>
                  </a:gs>
                  <a:gs pos="100000">
                    <a:srgbClr val="C9C9C9">
                      <a:gamma/>
                      <a:tint val="0"/>
                      <a:invGamma/>
                    </a:srgbClr>
                  </a:gs>
                </a:gsLst>
                <a:lin ang="2700000" scaled="1"/>
              </a:gradFill>
              <a:ln w="9525">
                <a:noFill/>
                <a:round/>
                <a:headEnd/>
                <a:tailEnd/>
              </a:ln>
              <a:effectLst/>
            </p:spPr>
            <p:txBody>
              <a:bodyPr/>
              <a:lstStyle/>
              <a:p>
                <a:endParaRPr lang="fr-FR" sz="1300"/>
              </a:p>
            </p:txBody>
          </p:sp>
          <p:sp>
            <p:nvSpPr>
              <p:cNvPr id="79" name="Freeform 48">
                <a:extLst>
                  <a:ext uri="{FF2B5EF4-FFF2-40B4-BE49-F238E27FC236}">
                    <a16:creationId xmlns:a16="http://schemas.microsoft.com/office/drawing/2014/main" id="{734331AA-5490-3D6A-C4CB-B53CCC0D7B41}"/>
                  </a:ext>
                </a:extLst>
              </p:cNvPr>
              <p:cNvSpPr>
                <a:spLocks/>
              </p:cNvSpPr>
              <p:nvPr/>
            </p:nvSpPr>
            <p:spPr bwMode="gray">
              <a:xfrm>
                <a:off x="4058" y="1918"/>
                <a:ext cx="140" cy="799"/>
              </a:xfrm>
              <a:custGeom>
                <a:avLst/>
                <a:gdLst/>
                <a:ahLst/>
                <a:cxnLst>
                  <a:cxn ang="0">
                    <a:pos x="140" y="724"/>
                  </a:cxn>
                  <a:cxn ang="0">
                    <a:pos x="140" y="83"/>
                  </a:cxn>
                  <a:cxn ang="0">
                    <a:pos x="0" y="0"/>
                  </a:cxn>
                  <a:cxn ang="0">
                    <a:pos x="0" y="799"/>
                  </a:cxn>
                  <a:cxn ang="0">
                    <a:pos x="140" y="724"/>
                  </a:cxn>
                </a:cxnLst>
                <a:rect l="0" t="0" r="r" b="b"/>
                <a:pathLst>
                  <a:path w="140" h="799">
                    <a:moveTo>
                      <a:pt x="140" y="724"/>
                    </a:moveTo>
                    <a:lnTo>
                      <a:pt x="140" y="83"/>
                    </a:lnTo>
                    <a:lnTo>
                      <a:pt x="0" y="0"/>
                    </a:lnTo>
                    <a:lnTo>
                      <a:pt x="0" y="799"/>
                    </a:lnTo>
                    <a:lnTo>
                      <a:pt x="140" y="724"/>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sz="1300"/>
              </a:p>
            </p:txBody>
          </p:sp>
          <p:sp>
            <p:nvSpPr>
              <p:cNvPr id="80" name="Freeform 49">
                <a:extLst>
                  <a:ext uri="{FF2B5EF4-FFF2-40B4-BE49-F238E27FC236}">
                    <a16:creationId xmlns:a16="http://schemas.microsoft.com/office/drawing/2014/main" id="{32CFB301-71FE-D00A-7352-A89DDDC7CED3}"/>
                  </a:ext>
                </a:extLst>
              </p:cNvPr>
              <p:cNvSpPr>
                <a:spLocks/>
              </p:cNvSpPr>
              <p:nvPr/>
            </p:nvSpPr>
            <p:spPr bwMode="gray">
              <a:xfrm>
                <a:off x="4058" y="1918"/>
                <a:ext cx="140" cy="89"/>
              </a:xfrm>
              <a:custGeom>
                <a:avLst/>
                <a:gdLst/>
                <a:ahLst/>
                <a:cxnLst>
                  <a:cxn ang="0">
                    <a:pos x="140" y="83"/>
                  </a:cxn>
                  <a:cxn ang="0">
                    <a:pos x="0" y="0"/>
                  </a:cxn>
                  <a:cxn ang="0">
                    <a:pos x="0" y="89"/>
                  </a:cxn>
                  <a:cxn ang="0">
                    <a:pos x="140" y="83"/>
                  </a:cxn>
                </a:cxnLst>
                <a:rect l="0" t="0" r="r" b="b"/>
                <a:pathLst>
                  <a:path w="140" h="89">
                    <a:moveTo>
                      <a:pt x="140" y="83"/>
                    </a:moveTo>
                    <a:lnTo>
                      <a:pt x="0" y="0"/>
                    </a:lnTo>
                    <a:lnTo>
                      <a:pt x="0" y="89"/>
                    </a:lnTo>
                    <a:lnTo>
                      <a:pt x="140" y="83"/>
                    </a:lnTo>
                    <a:close/>
                  </a:path>
                </a:pathLst>
              </a:custGeom>
              <a:solidFill>
                <a:srgbClr val="808080"/>
              </a:solidFill>
              <a:ln w="9525">
                <a:noFill/>
                <a:round/>
                <a:headEnd/>
                <a:tailEnd/>
              </a:ln>
              <a:effectLst/>
            </p:spPr>
            <p:txBody>
              <a:bodyPr/>
              <a:lstStyle/>
              <a:p>
                <a:endParaRPr lang="fr-FR" sz="1300"/>
              </a:p>
            </p:txBody>
          </p:sp>
          <p:sp>
            <p:nvSpPr>
              <p:cNvPr id="81" name="Freeform 50">
                <a:extLst>
                  <a:ext uri="{FF2B5EF4-FFF2-40B4-BE49-F238E27FC236}">
                    <a16:creationId xmlns:a16="http://schemas.microsoft.com/office/drawing/2014/main" id="{9AE2B140-043F-6D31-E732-78CB3B11AA68}"/>
                  </a:ext>
                </a:extLst>
              </p:cNvPr>
              <p:cNvSpPr>
                <a:spLocks/>
              </p:cNvSpPr>
              <p:nvPr/>
            </p:nvSpPr>
            <p:spPr bwMode="gray">
              <a:xfrm>
                <a:off x="3335" y="1918"/>
                <a:ext cx="723" cy="113"/>
              </a:xfrm>
              <a:custGeom>
                <a:avLst/>
                <a:gdLst/>
                <a:ahLst/>
                <a:cxnLst>
                  <a:cxn ang="0">
                    <a:pos x="723" y="0"/>
                  </a:cxn>
                  <a:cxn ang="0">
                    <a:pos x="723" y="89"/>
                  </a:cxn>
                  <a:cxn ang="0">
                    <a:pos x="258" y="113"/>
                  </a:cxn>
                  <a:cxn ang="0">
                    <a:pos x="0" y="39"/>
                  </a:cxn>
                  <a:cxn ang="0">
                    <a:pos x="723" y="0"/>
                  </a:cxn>
                </a:cxnLst>
                <a:rect l="0" t="0" r="r" b="b"/>
                <a:pathLst>
                  <a:path w="723" h="113">
                    <a:moveTo>
                      <a:pt x="723" y="0"/>
                    </a:moveTo>
                    <a:lnTo>
                      <a:pt x="723" y="89"/>
                    </a:lnTo>
                    <a:lnTo>
                      <a:pt x="258" y="113"/>
                    </a:lnTo>
                    <a:lnTo>
                      <a:pt x="0" y="39"/>
                    </a:lnTo>
                    <a:lnTo>
                      <a:pt x="723" y="0"/>
                    </a:lnTo>
                    <a:close/>
                  </a:path>
                </a:pathLst>
              </a:custGeom>
              <a:solidFill>
                <a:srgbClr val="EAEAEA"/>
              </a:solidFill>
              <a:ln w="9525">
                <a:noFill/>
                <a:round/>
                <a:headEnd/>
                <a:tailEnd/>
              </a:ln>
              <a:effectLst/>
            </p:spPr>
            <p:txBody>
              <a:bodyPr/>
              <a:lstStyle/>
              <a:p>
                <a:endParaRPr lang="fr-FR" sz="1300"/>
              </a:p>
            </p:txBody>
          </p:sp>
          <p:sp>
            <p:nvSpPr>
              <p:cNvPr id="82" name="Freeform 51">
                <a:extLst>
                  <a:ext uri="{FF2B5EF4-FFF2-40B4-BE49-F238E27FC236}">
                    <a16:creationId xmlns:a16="http://schemas.microsoft.com/office/drawing/2014/main" id="{5502740E-9658-8EF4-BE83-2ED5E62BA801}"/>
                  </a:ext>
                </a:extLst>
              </p:cNvPr>
              <p:cNvSpPr>
                <a:spLocks/>
              </p:cNvSpPr>
              <p:nvPr/>
            </p:nvSpPr>
            <p:spPr bwMode="gray">
              <a:xfrm>
                <a:off x="3335" y="1957"/>
                <a:ext cx="258" cy="728"/>
              </a:xfrm>
              <a:custGeom>
                <a:avLst/>
                <a:gdLst/>
                <a:ahLst/>
                <a:cxnLst>
                  <a:cxn ang="0">
                    <a:pos x="0" y="0"/>
                  </a:cxn>
                  <a:cxn ang="0">
                    <a:pos x="258" y="74"/>
                  </a:cxn>
                  <a:cxn ang="0">
                    <a:pos x="258" y="667"/>
                  </a:cxn>
                  <a:cxn ang="0">
                    <a:pos x="0" y="728"/>
                  </a:cxn>
                  <a:cxn ang="0">
                    <a:pos x="0" y="0"/>
                  </a:cxn>
                </a:cxnLst>
                <a:rect l="0" t="0" r="r" b="b"/>
                <a:pathLst>
                  <a:path w="258" h="728">
                    <a:moveTo>
                      <a:pt x="0" y="0"/>
                    </a:moveTo>
                    <a:lnTo>
                      <a:pt x="258" y="74"/>
                    </a:lnTo>
                    <a:lnTo>
                      <a:pt x="258" y="667"/>
                    </a:lnTo>
                    <a:lnTo>
                      <a:pt x="0" y="728"/>
                    </a:lnTo>
                    <a:lnTo>
                      <a:pt x="0" y="0"/>
                    </a:lnTo>
                    <a:close/>
                  </a:path>
                </a:pathLst>
              </a:custGeom>
              <a:solidFill>
                <a:srgbClr val="D1D1D1"/>
              </a:solidFill>
              <a:ln w="9525">
                <a:noFill/>
                <a:round/>
                <a:headEnd/>
                <a:tailEnd/>
              </a:ln>
              <a:effectLst/>
            </p:spPr>
            <p:txBody>
              <a:bodyPr/>
              <a:lstStyle/>
              <a:p>
                <a:endParaRPr lang="fr-FR" sz="1300"/>
              </a:p>
            </p:txBody>
          </p:sp>
          <p:sp>
            <p:nvSpPr>
              <p:cNvPr id="83" name="Freeform 52">
                <a:extLst>
                  <a:ext uri="{FF2B5EF4-FFF2-40B4-BE49-F238E27FC236}">
                    <a16:creationId xmlns:a16="http://schemas.microsoft.com/office/drawing/2014/main" id="{091B359C-F134-80A7-B09F-C30149229912}"/>
                  </a:ext>
                </a:extLst>
              </p:cNvPr>
              <p:cNvSpPr>
                <a:spLocks/>
              </p:cNvSpPr>
              <p:nvPr/>
            </p:nvSpPr>
            <p:spPr bwMode="gray">
              <a:xfrm>
                <a:off x="3335" y="2624"/>
                <a:ext cx="723" cy="93"/>
              </a:xfrm>
              <a:custGeom>
                <a:avLst/>
                <a:gdLst/>
                <a:ahLst/>
                <a:cxnLst>
                  <a:cxn ang="0">
                    <a:pos x="723" y="15"/>
                  </a:cxn>
                  <a:cxn ang="0">
                    <a:pos x="258" y="0"/>
                  </a:cxn>
                  <a:cxn ang="0">
                    <a:pos x="0" y="61"/>
                  </a:cxn>
                  <a:cxn ang="0">
                    <a:pos x="723" y="93"/>
                  </a:cxn>
                  <a:cxn ang="0">
                    <a:pos x="723" y="15"/>
                  </a:cxn>
                </a:cxnLst>
                <a:rect l="0" t="0" r="r" b="b"/>
                <a:pathLst>
                  <a:path w="723" h="93">
                    <a:moveTo>
                      <a:pt x="723" y="15"/>
                    </a:moveTo>
                    <a:lnTo>
                      <a:pt x="258" y="0"/>
                    </a:lnTo>
                    <a:lnTo>
                      <a:pt x="0" y="61"/>
                    </a:lnTo>
                    <a:lnTo>
                      <a:pt x="723" y="93"/>
                    </a:lnTo>
                    <a:lnTo>
                      <a:pt x="723" y="15"/>
                    </a:lnTo>
                    <a:close/>
                  </a:path>
                </a:pathLst>
              </a:custGeom>
              <a:solidFill>
                <a:srgbClr val="B2B2B2"/>
              </a:solidFill>
              <a:ln w="9525">
                <a:noFill/>
                <a:round/>
                <a:headEnd/>
                <a:tailEnd/>
              </a:ln>
              <a:effectLst/>
            </p:spPr>
            <p:txBody>
              <a:bodyPr/>
              <a:lstStyle/>
              <a:p>
                <a:endParaRPr lang="fr-FR" sz="1300"/>
              </a:p>
            </p:txBody>
          </p:sp>
          <p:sp>
            <p:nvSpPr>
              <p:cNvPr id="84" name="Freeform 53">
                <a:extLst>
                  <a:ext uri="{FF2B5EF4-FFF2-40B4-BE49-F238E27FC236}">
                    <a16:creationId xmlns:a16="http://schemas.microsoft.com/office/drawing/2014/main" id="{8BB76855-3995-743C-0BB4-E2B00C1FB9F7}"/>
                  </a:ext>
                </a:extLst>
              </p:cNvPr>
              <p:cNvSpPr>
                <a:spLocks/>
              </p:cNvSpPr>
              <p:nvPr/>
            </p:nvSpPr>
            <p:spPr bwMode="gray">
              <a:xfrm>
                <a:off x="4058" y="2639"/>
                <a:ext cx="140" cy="78"/>
              </a:xfrm>
              <a:custGeom>
                <a:avLst/>
                <a:gdLst/>
                <a:ahLst/>
                <a:cxnLst>
                  <a:cxn ang="0">
                    <a:pos x="0" y="78"/>
                  </a:cxn>
                  <a:cxn ang="0">
                    <a:pos x="140" y="3"/>
                  </a:cxn>
                  <a:cxn ang="0">
                    <a:pos x="0" y="0"/>
                  </a:cxn>
                  <a:cxn ang="0">
                    <a:pos x="0" y="78"/>
                  </a:cxn>
                </a:cxnLst>
                <a:rect l="0" t="0" r="r" b="b"/>
                <a:pathLst>
                  <a:path w="140" h="78">
                    <a:moveTo>
                      <a:pt x="0" y="78"/>
                    </a:moveTo>
                    <a:lnTo>
                      <a:pt x="140" y="3"/>
                    </a:lnTo>
                    <a:lnTo>
                      <a:pt x="0" y="0"/>
                    </a:lnTo>
                    <a:lnTo>
                      <a:pt x="0" y="78"/>
                    </a:lnTo>
                    <a:close/>
                  </a:path>
                </a:pathLst>
              </a:custGeom>
              <a:solidFill>
                <a:srgbClr val="000000"/>
              </a:solidFill>
              <a:ln w="9525">
                <a:noFill/>
                <a:round/>
                <a:headEnd/>
                <a:tailEnd/>
              </a:ln>
            </p:spPr>
            <p:txBody>
              <a:bodyPr/>
              <a:lstStyle/>
              <a:p>
                <a:endParaRPr lang="fr-FR" sz="1300"/>
              </a:p>
            </p:txBody>
          </p:sp>
        </p:grpSp>
        <p:grpSp>
          <p:nvGrpSpPr>
            <p:cNvPr id="85" name="Group 85">
              <a:extLst>
                <a:ext uri="{FF2B5EF4-FFF2-40B4-BE49-F238E27FC236}">
                  <a16:creationId xmlns:a16="http://schemas.microsoft.com/office/drawing/2014/main" id="{042C0274-BAA5-8FE0-D06D-2BA7F44AB226}"/>
                </a:ext>
              </a:extLst>
            </p:cNvPr>
            <p:cNvGrpSpPr>
              <a:grpSpLocks/>
            </p:cNvGrpSpPr>
            <p:nvPr/>
          </p:nvGrpSpPr>
          <p:grpSpPr bwMode="auto">
            <a:xfrm>
              <a:off x="2312989" y="4540703"/>
              <a:ext cx="1582737" cy="1450975"/>
              <a:chOff x="497" y="1853"/>
              <a:chExt cx="997" cy="914"/>
            </a:xfrm>
          </p:grpSpPr>
          <p:sp>
            <p:nvSpPr>
              <p:cNvPr id="86" name="Freeform 54">
                <a:extLst>
                  <a:ext uri="{FF2B5EF4-FFF2-40B4-BE49-F238E27FC236}">
                    <a16:creationId xmlns:a16="http://schemas.microsoft.com/office/drawing/2014/main" id="{5D4B8D99-73C9-E6C4-94EC-EC7482457ED8}"/>
                  </a:ext>
                </a:extLst>
              </p:cNvPr>
              <p:cNvSpPr>
                <a:spLocks/>
              </p:cNvSpPr>
              <p:nvPr/>
            </p:nvSpPr>
            <p:spPr bwMode="gray">
              <a:xfrm>
                <a:off x="737" y="1853"/>
                <a:ext cx="757" cy="914"/>
              </a:xfrm>
              <a:custGeom>
                <a:avLst/>
                <a:gdLst/>
                <a:ahLst/>
                <a:cxnLst>
                  <a:cxn ang="0">
                    <a:pos x="0" y="0"/>
                  </a:cxn>
                  <a:cxn ang="0">
                    <a:pos x="0" y="914"/>
                  </a:cxn>
                  <a:cxn ang="0">
                    <a:pos x="757" y="854"/>
                  </a:cxn>
                  <a:cxn ang="0">
                    <a:pos x="757" y="61"/>
                  </a:cxn>
                  <a:cxn ang="0">
                    <a:pos x="0" y="0"/>
                  </a:cxn>
                </a:cxnLst>
                <a:rect l="0" t="0" r="r" b="b"/>
                <a:pathLst>
                  <a:path w="757" h="914">
                    <a:moveTo>
                      <a:pt x="0" y="0"/>
                    </a:moveTo>
                    <a:lnTo>
                      <a:pt x="0" y="914"/>
                    </a:lnTo>
                    <a:lnTo>
                      <a:pt x="757" y="854"/>
                    </a:lnTo>
                    <a:lnTo>
                      <a:pt x="757" y="61"/>
                    </a:lnTo>
                    <a:lnTo>
                      <a:pt x="0" y="0"/>
                    </a:lnTo>
                    <a:close/>
                  </a:path>
                </a:pathLst>
              </a:custGeom>
              <a:gradFill rotWithShape="1">
                <a:gsLst>
                  <a:gs pos="0">
                    <a:srgbClr val="C9C9C9">
                      <a:gamma/>
                      <a:tint val="0"/>
                      <a:invGamma/>
                    </a:srgbClr>
                  </a:gs>
                  <a:gs pos="100000">
                    <a:srgbClr val="C9C9C9"/>
                  </a:gs>
                </a:gsLst>
                <a:lin ang="2700000" scaled="1"/>
              </a:gradFill>
              <a:ln w="9525">
                <a:noFill/>
                <a:round/>
                <a:headEnd/>
                <a:tailEnd/>
              </a:ln>
              <a:effectLst/>
            </p:spPr>
            <p:txBody>
              <a:bodyPr/>
              <a:lstStyle/>
              <a:p>
                <a:endParaRPr lang="fr-FR"/>
              </a:p>
            </p:txBody>
          </p:sp>
          <p:sp>
            <p:nvSpPr>
              <p:cNvPr id="87" name="Freeform 55">
                <a:extLst>
                  <a:ext uri="{FF2B5EF4-FFF2-40B4-BE49-F238E27FC236}">
                    <a16:creationId xmlns:a16="http://schemas.microsoft.com/office/drawing/2014/main" id="{0CEBBCA4-8DEE-A624-28D3-C4CDF67E4413}"/>
                  </a:ext>
                </a:extLst>
              </p:cNvPr>
              <p:cNvSpPr>
                <a:spLocks/>
              </p:cNvSpPr>
              <p:nvPr/>
            </p:nvSpPr>
            <p:spPr bwMode="gray">
              <a:xfrm>
                <a:off x="497" y="1853"/>
                <a:ext cx="240" cy="914"/>
              </a:xfrm>
              <a:custGeom>
                <a:avLst/>
                <a:gdLst/>
                <a:ahLst/>
                <a:cxnLst>
                  <a:cxn ang="0">
                    <a:pos x="0" y="87"/>
                  </a:cxn>
                  <a:cxn ang="0">
                    <a:pos x="0" y="836"/>
                  </a:cxn>
                  <a:cxn ang="0">
                    <a:pos x="240" y="914"/>
                  </a:cxn>
                  <a:cxn ang="0">
                    <a:pos x="240" y="0"/>
                  </a:cxn>
                  <a:cxn ang="0">
                    <a:pos x="0" y="87"/>
                  </a:cxn>
                </a:cxnLst>
                <a:rect l="0" t="0" r="r" b="b"/>
                <a:pathLst>
                  <a:path w="240" h="914">
                    <a:moveTo>
                      <a:pt x="0" y="87"/>
                    </a:moveTo>
                    <a:lnTo>
                      <a:pt x="0" y="836"/>
                    </a:lnTo>
                    <a:lnTo>
                      <a:pt x="240" y="914"/>
                    </a:lnTo>
                    <a:lnTo>
                      <a:pt x="240" y="0"/>
                    </a:lnTo>
                    <a:lnTo>
                      <a:pt x="0" y="87"/>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88" name="Freeform 56">
                <a:extLst>
                  <a:ext uri="{FF2B5EF4-FFF2-40B4-BE49-F238E27FC236}">
                    <a16:creationId xmlns:a16="http://schemas.microsoft.com/office/drawing/2014/main" id="{0F650714-05CA-F22C-D5F2-144CFEF8FE2B}"/>
                  </a:ext>
                </a:extLst>
              </p:cNvPr>
              <p:cNvSpPr>
                <a:spLocks/>
              </p:cNvSpPr>
              <p:nvPr/>
            </p:nvSpPr>
            <p:spPr bwMode="gray">
              <a:xfrm>
                <a:off x="497" y="1853"/>
                <a:ext cx="240" cy="102"/>
              </a:xfrm>
              <a:custGeom>
                <a:avLst/>
                <a:gdLst/>
                <a:ahLst/>
                <a:cxnLst>
                  <a:cxn ang="0">
                    <a:pos x="240" y="0"/>
                  </a:cxn>
                  <a:cxn ang="0">
                    <a:pos x="240" y="102"/>
                  </a:cxn>
                  <a:cxn ang="0">
                    <a:pos x="0" y="87"/>
                  </a:cxn>
                  <a:cxn ang="0">
                    <a:pos x="240" y="0"/>
                  </a:cxn>
                </a:cxnLst>
                <a:rect l="0" t="0" r="r" b="b"/>
                <a:pathLst>
                  <a:path w="240" h="102">
                    <a:moveTo>
                      <a:pt x="240" y="0"/>
                    </a:moveTo>
                    <a:lnTo>
                      <a:pt x="240" y="102"/>
                    </a:lnTo>
                    <a:lnTo>
                      <a:pt x="0" y="87"/>
                    </a:lnTo>
                    <a:lnTo>
                      <a:pt x="240" y="0"/>
                    </a:lnTo>
                    <a:close/>
                  </a:path>
                </a:pathLst>
              </a:custGeom>
              <a:solidFill>
                <a:srgbClr val="808080"/>
              </a:solidFill>
              <a:ln w="9525">
                <a:noFill/>
                <a:round/>
                <a:headEnd/>
                <a:tailEnd/>
              </a:ln>
              <a:effectLst/>
            </p:spPr>
            <p:txBody>
              <a:bodyPr/>
              <a:lstStyle/>
              <a:p>
                <a:endParaRPr lang="fr-FR"/>
              </a:p>
            </p:txBody>
          </p:sp>
          <p:sp>
            <p:nvSpPr>
              <p:cNvPr id="89" name="Freeform 57">
                <a:extLst>
                  <a:ext uri="{FF2B5EF4-FFF2-40B4-BE49-F238E27FC236}">
                    <a16:creationId xmlns:a16="http://schemas.microsoft.com/office/drawing/2014/main" id="{9B0EC640-35A1-E73E-CCAA-F32A5DA50056}"/>
                  </a:ext>
                </a:extLst>
              </p:cNvPr>
              <p:cNvSpPr>
                <a:spLocks/>
              </p:cNvSpPr>
              <p:nvPr/>
            </p:nvSpPr>
            <p:spPr bwMode="gray">
              <a:xfrm>
                <a:off x="497" y="2674"/>
                <a:ext cx="240" cy="93"/>
              </a:xfrm>
              <a:custGeom>
                <a:avLst/>
                <a:gdLst/>
                <a:ahLst/>
                <a:cxnLst>
                  <a:cxn ang="0">
                    <a:pos x="0" y="15"/>
                  </a:cxn>
                  <a:cxn ang="0">
                    <a:pos x="240" y="0"/>
                  </a:cxn>
                  <a:cxn ang="0">
                    <a:pos x="240" y="93"/>
                  </a:cxn>
                  <a:cxn ang="0">
                    <a:pos x="0" y="15"/>
                  </a:cxn>
                </a:cxnLst>
                <a:rect l="0" t="0" r="r" b="b"/>
                <a:pathLst>
                  <a:path w="240" h="93">
                    <a:moveTo>
                      <a:pt x="0" y="15"/>
                    </a:moveTo>
                    <a:lnTo>
                      <a:pt x="240" y="0"/>
                    </a:lnTo>
                    <a:lnTo>
                      <a:pt x="240" y="93"/>
                    </a:lnTo>
                    <a:lnTo>
                      <a:pt x="0" y="15"/>
                    </a:lnTo>
                    <a:close/>
                  </a:path>
                </a:pathLst>
              </a:custGeom>
              <a:solidFill>
                <a:srgbClr val="000000"/>
              </a:solidFill>
              <a:ln w="9525">
                <a:noFill/>
                <a:round/>
                <a:headEnd/>
                <a:tailEnd/>
              </a:ln>
            </p:spPr>
            <p:txBody>
              <a:bodyPr/>
              <a:lstStyle/>
              <a:p>
                <a:endParaRPr lang="fr-FR"/>
              </a:p>
            </p:txBody>
          </p:sp>
          <p:sp>
            <p:nvSpPr>
              <p:cNvPr id="90" name="Freeform 58">
                <a:extLst>
                  <a:ext uri="{FF2B5EF4-FFF2-40B4-BE49-F238E27FC236}">
                    <a16:creationId xmlns:a16="http://schemas.microsoft.com/office/drawing/2014/main" id="{BF143630-0631-2CB8-206A-F852D59FBA8C}"/>
                  </a:ext>
                </a:extLst>
              </p:cNvPr>
              <p:cNvSpPr>
                <a:spLocks/>
              </p:cNvSpPr>
              <p:nvPr/>
            </p:nvSpPr>
            <p:spPr bwMode="gray">
              <a:xfrm>
                <a:off x="737" y="1853"/>
                <a:ext cx="757" cy="130"/>
              </a:xfrm>
              <a:custGeom>
                <a:avLst/>
                <a:gdLst/>
                <a:ahLst/>
                <a:cxnLst>
                  <a:cxn ang="0">
                    <a:pos x="0" y="0"/>
                  </a:cxn>
                  <a:cxn ang="0">
                    <a:pos x="0" y="102"/>
                  </a:cxn>
                  <a:cxn ang="0">
                    <a:pos x="422" y="130"/>
                  </a:cxn>
                  <a:cxn ang="0">
                    <a:pos x="757" y="61"/>
                  </a:cxn>
                  <a:cxn ang="0">
                    <a:pos x="0" y="0"/>
                  </a:cxn>
                </a:cxnLst>
                <a:rect l="0" t="0" r="r" b="b"/>
                <a:pathLst>
                  <a:path w="757" h="130">
                    <a:moveTo>
                      <a:pt x="0" y="0"/>
                    </a:moveTo>
                    <a:lnTo>
                      <a:pt x="0" y="102"/>
                    </a:lnTo>
                    <a:lnTo>
                      <a:pt x="422" y="130"/>
                    </a:lnTo>
                    <a:lnTo>
                      <a:pt x="757" y="61"/>
                    </a:lnTo>
                    <a:lnTo>
                      <a:pt x="0" y="0"/>
                    </a:lnTo>
                    <a:close/>
                  </a:path>
                </a:pathLst>
              </a:custGeom>
              <a:solidFill>
                <a:srgbClr val="EAEAEA"/>
              </a:solidFill>
              <a:ln w="9525">
                <a:noFill/>
                <a:round/>
                <a:headEnd/>
                <a:tailEnd/>
              </a:ln>
              <a:effectLst/>
            </p:spPr>
            <p:txBody>
              <a:bodyPr/>
              <a:lstStyle/>
              <a:p>
                <a:endParaRPr lang="fr-FR"/>
              </a:p>
            </p:txBody>
          </p:sp>
          <p:sp>
            <p:nvSpPr>
              <p:cNvPr id="91" name="Freeform 59">
                <a:extLst>
                  <a:ext uri="{FF2B5EF4-FFF2-40B4-BE49-F238E27FC236}">
                    <a16:creationId xmlns:a16="http://schemas.microsoft.com/office/drawing/2014/main" id="{BA774C93-0A41-AC8C-131E-3268B29359A1}"/>
                  </a:ext>
                </a:extLst>
              </p:cNvPr>
              <p:cNvSpPr>
                <a:spLocks/>
              </p:cNvSpPr>
              <p:nvPr/>
            </p:nvSpPr>
            <p:spPr bwMode="gray">
              <a:xfrm>
                <a:off x="1159" y="1914"/>
                <a:ext cx="335" cy="793"/>
              </a:xfrm>
              <a:custGeom>
                <a:avLst/>
                <a:gdLst/>
                <a:ahLst/>
                <a:cxnLst>
                  <a:cxn ang="0">
                    <a:pos x="335" y="793"/>
                  </a:cxn>
                  <a:cxn ang="0">
                    <a:pos x="335" y="0"/>
                  </a:cxn>
                  <a:cxn ang="0">
                    <a:pos x="0" y="69"/>
                  </a:cxn>
                  <a:cxn ang="0">
                    <a:pos x="0" y="734"/>
                  </a:cxn>
                  <a:cxn ang="0">
                    <a:pos x="335" y="793"/>
                  </a:cxn>
                </a:cxnLst>
                <a:rect l="0" t="0" r="r" b="b"/>
                <a:pathLst>
                  <a:path w="335" h="793">
                    <a:moveTo>
                      <a:pt x="335" y="793"/>
                    </a:moveTo>
                    <a:lnTo>
                      <a:pt x="335" y="0"/>
                    </a:lnTo>
                    <a:lnTo>
                      <a:pt x="0" y="69"/>
                    </a:lnTo>
                    <a:lnTo>
                      <a:pt x="0" y="734"/>
                    </a:lnTo>
                    <a:lnTo>
                      <a:pt x="335" y="793"/>
                    </a:lnTo>
                    <a:close/>
                  </a:path>
                </a:pathLst>
              </a:custGeom>
              <a:solidFill>
                <a:srgbClr val="BEBEBE"/>
              </a:solidFill>
              <a:ln w="9525">
                <a:noFill/>
                <a:round/>
                <a:headEnd/>
                <a:tailEnd/>
              </a:ln>
              <a:effectLst/>
            </p:spPr>
            <p:txBody>
              <a:bodyPr/>
              <a:lstStyle/>
              <a:p>
                <a:endParaRPr lang="fr-FR"/>
              </a:p>
            </p:txBody>
          </p:sp>
          <p:sp>
            <p:nvSpPr>
              <p:cNvPr id="92" name="Freeform 60">
                <a:extLst>
                  <a:ext uri="{FF2B5EF4-FFF2-40B4-BE49-F238E27FC236}">
                    <a16:creationId xmlns:a16="http://schemas.microsoft.com/office/drawing/2014/main" id="{9487406B-377F-EF3E-EEAC-EA26FA34C2B3}"/>
                  </a:ext>
                </a:extLst>
              </p:cNvPr>
              <p:cNvSpPr>
                <a:spLocks/>
              </p:cNvSpPr>
              <p:nvPr/>
            </p:nvSpPr>
            <p:spPr bwMode="gray">
              <a:xfrm>
                <a:off x="737" y="2648"/>
                <a:ext cx="757" cy="119"/>
              </a:xfrm>
              <a:custGeom>
                <a:avLst/>
                <a:gdLst/>
                <a:ahLst/>
                <a:cxnLst>
                  <a:cxn ang="0">
                    <a:pos x="0" y="26"/>
                  </a:cxn>
                  <a:cxn ang="0">
                    <a:pos x="0" y="119"/>
                  </a:cxn>
                  <a:cxn ang="0">
                    <a:pos x="757" y="59"/>
                  </a:cxn>
                  <a:cxn ang="0">
                    <a:pos x="422" y="0"/>
                  </a:cxn>
                  <a:cxn ang="0">
                    <a:pos x="0" y="26"/>
                  </a:cxn>
                </a:cxnLst>
                <a:rect l="0" t="0" r="r" b="b"/>
                <a:pathLst>
                  <a:path w="757" h="119">
                    <a:moveTo>
                      <a:pt x="0" y="26"/>
                    </a:moveTo>
                    <a:lnTo>
                      <a:pt x="0" y="119"/>
                    </a:lnTo>
                    <a:lnTo>
                      <a:pt x="757" y="59"/>
                    </a:lnTo>
                    <a:lnTo>
                      <a:pt x="422" y="0"/>
                    </a:lnTo>
                    <a:lnTo>
                      <a:pt x="0" y="26"/>
                    </a:lnTo>
                    <a:close/>
                  </a:path>
                </a:pathLst>
              </a:custGeom>
              <a:solidFill>
                <a:srgbClr val="B2B2B2"/>
              </a:solidFill>
              <a:ln w="9525">
                <a:noFill/>
                <a:round/>
                <a:headEnd/>
                <a:tailEnd/>
              </a:ln>
              <a:effectLst/>
            </p:spPr>
            <p:txBody>
              <a:bodyPr/>
              <a:lstStyle/>
              <a:p>
                <a:endParaRPr lang="fr-FR"/>
              </a:p>
            </p:txBody>
          </p:sp>
        </p:grpSp>
        <p:grpSp>
          <p:nvGrpSpPr>
            <p:cNvPr id="93" name="Group 82">
              <a:extLst>
                <a:ext uri="{FF2B5EF4-FFF2-40B4-BE49-F238E27FC236}">
                  <a16:creationId xmlns:a16="http://schemas.microsoft.com/office/drawing/2014/main" id="{46C9B589-56E0-B98D-FE97-85FB4531B87B}"/>
                </a:ext>
              </a:extLst>
            </p:cNvPr>
            <p:cNvGrpSpPr>
              <a:grpSpLocks/>
            </p:cNvGrpSpPr>
            <p:nvPr/>
          </p:nvGrpSpPr>
          <p:grpSpPr bwMode="auto">
            <a:xfrm>
              <a:off x="8299450" y="4540703"/>
              <a:ext cx="1582738" cy="1450975"/>
              <a:chOff x="4268" y="1853"/>
              <a:chExt cx="997" cy="914"/>
            </a:xfrm>
          </p:grpSpPr>
          <p:sp>
            <p:nvSpPr>
              <p:cNvPr id="94" name="Freeform 61">
                <a:extLst>
                  <a:ext uri="{FF2B5EF4-FFF2-40B4-BE49-F238E27FC236}">
                    <a16:creationId xmlns:a16="http://schemas.microsoft.com/office/drawing/2014/main" id="{9250752B-DCFE-29B4-753C-CDB347777274}"/>
                  </a:ext>
                </a:extLst>
              </p:cNvPr>
              <p:cNvSpPr>
                <a:spLocks/>
              </p:cNvSpPr>
              <p:nvPr/>
            </p:nvSpPr>
            <p:spPr bwMode="gray">
              <a:xfrm>
                <a:off x="4268" y="1853"/>
                <a:ext cx="757" cy="914"/>
              </a:xfrm>
              <a:custGeom>
                <a:avLst/>
                <a:gdLst/>
                <a:ahLst/>
                <a:cxnLst>
                  <a:cxn ang="0">
                    <a:pos x="757" y="0"/>
                  </a:cxn>
                  <a:cxn ang="0">
                    <a:pos x="757" y="914"/>
                  </a:cxn>
                  <a:cxn ang="0">
                    <a:pos x="0" y="854"/>
                  </a:cxn>
                  <a:cxn ang="0">
                    <a:pos x="0" y="61"/>
                  </a:cxn>
                  <a:cxn ang="0">
                    <a:pos x="757" y="0"/>
                  </a:cxn>
                </a:cxnLst>
                <a:rect l="0" t="0" r="r" b="b"/>
                <a:pathLst>
                  <a:path w="757" h="914">
                    <a:moveTo>
                      <a:pt x="757" y="0"/>
                    </a:moveTo>
                    <a:lnTo>
                      <a:pt x="757" y="914"/>
                    </a:lnTo>
                    <a:lnTo>
                      <a:pt x="0" y="854"/>
                    </a:lnTo>
                    <a:lnTo>
                      <a:pt x="0" y="61"/>
                    </a:lnTo>
                    <a:lnTo>
                      <a:pt x="757" y="0"/>
                    </a:lnTo>
                    <a:close/>
                  </a:path>
                </a:pathLst>
              </a:custGeom>
              <a:gradFill rotWithShape="1">
                <a:gsLst>
                  <a:gs pos="0">
                    <a:srgbClr val="C9C9C9"/>
                  </a:gs>
                  <a:gs pos="100000">
                    <a:srgbClr val="C9C9C9">
                      <a:gamma/>
                      <a:tint val="0"/>
                      <a:invGamma/>
                    </a:srgbClr>
                  </a:gs>
                </a:gsLst>
                <a:lin ang="2700000" scaled="1"/>
              </a:gradFill>
              <a:ln w="9525">
                <a:noFill/>
                <a:round/>
                <a:headEnd/>
                <a:tailEnd/>
              </a:ln>
              <a:effectLst/>
            </p:spPr>
            <p:txBody>
              <a:bodyPr/>
              <a:lstStyle/>
              <a:p>
                <a:endParaRPr lang="fr-FR"/>
              </a:p>
            </p:txBody>
          </p:sp>
          <p:sp>
            <p:nvSpPr>
              <p:cNvPr id="95" name="Freeform 62">
                <a:extLst>
                  <a:ext uri="{FF2B5EF4-FFF2-40B4-BE49-F238E27FC236}">
                    <a16:creationId xmlns:a16="http://schemas.microsoft.com/office/drawing/2014/main" id="{A58C1C90-A5F6-63B5-BA05-53F8850BC687}"/>
                  </a:ext>
                </a:extLst>
              </p:cNvPr>
              <p:cNvSpPr>
                <a:spLocks/>
              </p:cNvSpPr>
              <p:nvPr/>
            </p:nvSpPr>
            <p:spPr bwMode="gray">
              <a:xfrm>
                <a:off x="5025" y="1853"/>
                <a:ext cx="240" cy="914"/>
              </a:xfrm>
              <a:custGeom>
                <a:avLst/>
                <a:gdLst/>
                <a:ahLst/>
                <a:cxnLst>
                  <a:cxn ang="0">
                    <a:pos x="240" y="87"/>
                  </a:cxn>
                  <a:cxn ang="0">
                    <a:pos x="240" y="836"/>
                  </a:cxn>
                  <a:cxn ang="0">
                    <a:pos x="0" y="914"/>
                  </a:cxn>
                  <a:cxn ang="0">
                    <a:pos x="0" y="0"/>
                  </a:cxn>
                  <a:cxn ang="0">
                    <a:pos x="240" y="87"/>
                  </a:cxn>
                </a:cxnLst>
                <a:rect l="0" t="0" r="r" b="b"/>
                <a:pathLst>
                  <a:path w="240" h="914">
                    <a:moveTo>
                      <a:pt x="240" y="87"/>
                    </a:moveTo>
                    <a:lnTo>
                      <a:pt x="240" y="836"/>
                    </a:lnTo>
                    <a:lnTo>
                      <a:pt x="0" y="914"/>
                    </a:lnTo>
                    <a:lnTo>
                      <a:pt x="0" y="0"/>
                    </a:lnTo>
                    <a:lnTo>
                      <a:pt x="240" y="87"/>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a:p>
            </p:txBody>
          </p:sp>
          <p:sp>
            <p:nvSpPr>
              <p:cNvPr id="96" name="Freeform 63">
                <a:extLst>
                  <a:ext uri="{FF2B5EF4-FFF2-40B4-BE49-F238E27FC236}">
                    <a16:creationId xmlns:a16="http://schemas.microsoft.com/office/drawing/2014/main" id="{143C479A-9680-979A-D11F-85E38A7E9DDB}"/>
                  </a:ext>
                </a:extLst>
              </p:cNvPr>
              <p:cNvSpPr>
                <a:spLocks/>
              </p:cNvSpPr>
              <p:nvPr/>
            </p:nvSpPr>
            <p:spPr bwMode="gray">
              <a:xfrm>
                <a:off x="5025" y="1853"/>
                <a:ext cx="240" cy="102"/>
              </a:xfrm>
              <a:custGeom>
                <a:avLst/>
                <a:gdLst/>
                <a:ahLst/>
                <a:cxnLst>
                  <a:cxn ang="0">
                    <a:pos x="0" y="0"/>
                  </a:cxn>
                  <a:cxn ang="0">
                    <a:pos x="0" y="102"/>
                  </a:cxn>
                  <a:cxn ang="0">
                    <a:pos x="240" y="87"/>
                  </a:cxn>
                  <a:cxn ang="0">
                    <a:pos x="0" y="0"/>
                  </a:cxn>
                </a:cxnLst>
                <a:rect l="0" t="0" r="r" b="b"/>
                <a:pathLst>
                  <a:path w="240" h="102">
                    <a:moveTo>
                      <a:pt x="0" y="0"/>
                    </a:moveTo>
                    <a:lnTo>
                      <a:pt x="0" y="102"/>
                    </a:lnTo>
                    <a:lnTo>
                      <a:pt x="240" y="87"/>
                    </a:lnTo>
                    <a:lnTo>
                      <a:pt x="0" y="0"/>
                    </a:lnTo>
                    <a:close/>
                  </a:path>
                </a:pathLst>
              </a:custGeom>
              <a:solidFill>
                <a:srgbClr val="808080"/>
              </a:solidFill>
              <a:ln w="9525">
                <a:noFill/>
                <a:round/>
                <a:headEnd/>
                <a:tailEnd/>
              </a:ln>
              <a:effectLst/>
            </p:spPr>
            <p:txBody>
              <a:bodyPr/>
              <a:lstStyle/>
              <a:p>
                <a:endParaRPr lang="fr-FR"/>
              </a:p>
            </p:txBody>
          </p:sp>
          <p:sp>
            <p:nvSpPr>
              <p:cNvPr id="97" name="Freeform 64">
                <a:extLst>
                  <a:ext uri="{FF2B5EF4-FFF2-40B4-BE49-F238E27FC236}">
                    <a16:creationId xmlns:a16="http://schemas.microsoft.com/office/drawing/2014/main" id="{62EE09E9-226B-37DE-1A86-367DBC89A1A7}"/>
                  </a:ext>
                </a:extLst>
              </p:cNvPr>
              <p:cNvSpPr>
                <a:spLocks/>
              </p:cNvSpPr>
              <p:nvPr/>
            </p:nvSpPr>
            <p:spPr bwMode="gray">
              <a:xfrm>
                <a:off x="5025" y="2674"/>
                <a:ext cx="240" cy="93"/>
              </a:xfrm>
              <a:custGeom>
                <a:avLst/>
                <a:gdLst/>
                <a:ahLst/>
                <a:cxnLst>
                  <a:cxn ang="0">
                    <a:pos x="240" y="15"/>
                  </a:cxn>
                  <a:cxn ang="0">
                    <a:pos x="0" y="0"/>
                  </a:cxn>
                  <a:cxn ang="0">
                    <a:pos x="0" y="93"/>
                  </a:cxn>
                  <a:cxn ang="0">
                    <a:pos x="240" y="15"/>
                  </a:cxn>
                </a:cxnLst>
                <a:rect l="0" t="0" r="r" b="b"/>
                <a:pathLst>
                  <a:path w="240" h="93">
                    <a:moveTo>
                      <a:pt x="240" y="15"/>
                    </a:moveTo>
                    <a:lnTo>
                      <a:pt x="0" y="0"/>
                    </a:lnTo>
                    <a:lnTo>
                      <a:pt x="0" y="93"/>
                    </a:lnTo>
                    <a:lnTo>
                      <a:pt x="240" y="15"/>
                    </a:lnTo>
                    <a:close/>
                  </a:path>
                </a:pathLst>
              </a:custGeom>
              <a:solidFill>
                <a:srgbClr val="000000"/>
              </a:solidFill>
              <a:ln w="9525">
                <a:noFill/>
                <a:round/>
                <a:headEnd/>
                <a:tailEnd/>
              </a:ln>
            </p:spPr>
            <p:txBody>
              <a:bodyPr/>
              <a:lstStyle/>
              <a:p>
                <a:endParaRPr lang="fr-FR"/>
              </a:p>
            </p:txBody>
          </p:sp>
          <p:sp>
            <p:nvSpPr>
              <p:cNvPr id="98" name="Freeform 65">
                <a:extLst>
                  <a:ext uri="{FF2B5EF4-FFF2-40B4-BE49-F238E27FC236}">
                    <a16:creationId xmlns:a16="http://schemas.microsoft.com/office/drawing/2014/main" id="{33FE09F3-FB7D-0BD2-4EE4-8A696B1D2691}"/>
                  </a:ext>
                </a:extLst>
              </p:cNvPr>
              <p:cNvSpPr>
                <a:spLocks/>
              </p:cNvSpPr>
              <p:nvPr/>
            </p:nvSpPr>
            <p:spPr bwMode="gray">
              <a:xfrm>
                <a:off x="4268" y="1853"/>
                <a:ext cx="757" cy="130"/>
              </a:xfrm>
              <a:custGeom>
                <a:avLst/>
                <a:gdLst/>
                <a:ahLst/>
                <a:cxnLst>
                  <a:cxn ang="0">
                    <a:pos x="757" y="0"/>
                  </a:cxn>
                  <a:cxn ang="0">
                    <a:pos x="757" y="102"/>
                  </a:cxn>
                  <a:cxn ang="0">
                    <a:pos x="335" y="130"/>
                  </a:cxn>
                  <a:cxn ang="0">
                    <a:pos x="0" y="61"/>
                  </a:cxn>
                  <a:cxn ang="0">
                    <a:pos x="757" y="0"/>
                  </a:cxn>
                </a:cxnLst>
                <a:rect l="0" t="0" r="r" b="b"/>
                <a:pathLst>
                  <a:path w="757" h="130">
                    <a:moveTo>
                      <a:pt x="757" y="0"/>
                    </a:moveTo>
                    <a:lnTo>
                      <a:pt x="757" y="102"/>
                    </a:lnTo>
                    <a:lnTo>
                      <a:pt x="335" y="130"/>
                    </a:lnTo>
                    <a:lnTo>
                      <a:pt x="0" y="61"/>
                    </a:lnTo>
                    <a:lnTo>
                      <a:pt x="757" y="0"/>
                    </a:lnTo>
                    <a:close/>
                  </a:path>
                </a:pathLst>
              </a:custGeom>
              <a:solidFill>
                <a:srgbClr val="EAEAEA"/>
              </a:solidFill>
              <a:ln w="9525">
                <a:noFill/>
                <a:round/>
                <a:headEnd/>
                <a:tailEnd/>
              </a:ln>
              <a:effectLst/>
            </p:spPr>
            <p:txBody>
              <a:bodyPr/>
              <a:lstStyle/>
              <a:p>
                <a:endParaRPr lang="fr-FR"/>
              </a:p>
            </p:txBody>
          </p:sp>
          <p:sp>
            <p:nvSpPr>
              <p:cNvPr id="99" name="Freeform 66">
                <a:extLst>
                  <a:ext uri="{FF2B5EF4-FFF2-40B4-BE49-F238E27FC236}">
                    <a16:creationId xmlns:a16="http://schemas.microsoft.com/office/drawing/2014/main" id="{276EFFD1-DD51-FCCA-29D7-255B50833C5D}"/>
                  </a:ext>
                </a:extLst>
              </p:cNvPr>
              <p:cNvSpPr>
                <a:spLocks/>
              </p:cNvSpPr>
              <p:nvPr/>
            </p:nvSpPr>
            <p:spPr bwMode="gray">
              <a:xfrm>
                <a:off x="4268" y="1914"/>
                <a:ext cx="335" cy="793"/>
              </a:xfrm>
              <a:custGeom>
                <a:avLst/>
                <a:gdLst/>
                <a:ahLst/>
                <a:cxnLst>
                  <a:cxn ang="0">
                    <a:pos x="0" y="793"/>
                  </a:cxn>
                  <a:cxn ang="0">
                    <a:pos x="0" y="0"/>
                  </a:cxn>
                  <a:cxn ang="0">
                    <a:pos x="335" y="69"/>
                  </a:cxn>
                  <a:cxn ang="0">
                    <a:pos x="335" y="734"/>
                  </a:cxn>
                  <a:cxn ang="0">
                    <a:pos x="0" y="793"/>
                  </a:cxn>
                </a:cxnLst>
                <a:rect l="0" t="0" r="r" b="b"/>
                <a:pathLst>
                  <a:path w="335" h="793">
                    <a:moveTo>
                      <a:pt x="0" y="793"/>
                    </a:moveTo>
                    <a:lnTo>
                      <a:pt x="0" y="0"/>
                    </a:lnTo>
                    <a:lnTo>
                      <a:pt x="335" y="69"/>
                    </a:lnTo>
                    <a:lnTo>
                      <a:pt x="335" y="734"/>
                    </a:lnTo>
                    <a:lnTo>
                      <a:pt x="0" y="793"/>
                    </a:lnTo>
                    <a:close/>
                  </a:path>
                </a:pathLst>
              </a:custGeom>
              <a:solidFill>
                <a:srgbClr val="BEBEBE"/>
              </a:solidFill>
              <a:ln w="9525">
                <a:noFill/>
                <a:round/>
                <a:headEnd/>
                <a:tailEnd/>
              </a:ln>
              <a:effectLst/>
            </p:spPr>
            <p:txBody>
              <a:bodyPr/>
              <a:lstStyle/>
              <a:p>
                <a:endParaRPr lang="fr-FR"/>
              </a:p>
            </p:txBody>
          </p:sp>
          <p:sp>
            <p:nvSpPr>
              <p:cNvPr id="100" name="Freeform 67">
                <a:extLst>
                  <a:ext uri="{FF2B5EF4-FFF2-40B4-BE49-F238E27FC236}">
                    <a16:creationId xmlns:a16="http://schemas.microsoft.com/office/drawing/2014/main" id="{6114C76B-97B6-61C4-8505-DF191571A327}"/>
                  </a:ext>
                </a:extLst>
              </p:cNvPr>
              <p:cNvSpPr>
                <a:spLocks/>
              </p:cNvSpPr>
              <p:nvPr/>
            </p:nvSpPr>
            <p:spPr bwMode="gray">
              <a:xfrm>
                <a:off x="4268" y="2648"/>
                <a:ext cx="757" cy="119"/>
              </a:xfrm>
              <a:custGeom>
                <a:avLst/>
                <a:gdLst/>
                <a:ahLst/>
                <a:cxnLst>
                  <a:cxn ang="0">
                    <a:pos x="757" y="26"/>
                  </a:cxn>
                  <a:cxn ang="0">
                    <a:pos x="757" y="119"/>
                  </a:cxn>
                  <a:cxn ang="0">
                    <a:pos x="0" y="59"/>
                  </a:cxn>
                  <a:cxn ang="0">
                    <a:pos x="335" y="0"/>
                  </a:cxn>
                  <a:cxn ang="0">
                    <a:pos x="757" y="26"/>
                  </a:cxn>
                </a:cxnLst>
                <a:rect l="0" t="0" r="r" b="b"/>
                <a:pathLst>
                  <a:path w="757" h="119">
                    <a:moveTo>
                      <a:pt x="757" y="26"/>
                    </a:moveTo>
                    <a:lnTo>
                      <a:pt x="757" y="119"/>
                    </a:lnTo>
                    <a:lnTo>
                      <a:pt x="0" y="59"/>
                    </a:lnTo>
                    <a:lnTo>
                      <a:pt x="335" y="0"/>
                    </a:lnTo>
                    <a:lnTo>
                      <a:pt x="757" y="26"/>
                    </a:lnTo>
                    <a:close/>
                  </a:path>
                </a:pathLst>
              </a:custGeom>
              <a:solidFill>
                <a:srgbClr val="B2B2B2"/>
              </a:solidFill>
              <a:ln w="9525">
                <a:noFill/>
                <a:round/>
                <a:headEnd/>
                <a:tailEnd/>
              </a:ln>
              <a:effectLst/>
            </p:spPr>
            <p:txBody>
              <a:bodyPr/>
              <a:lstStyle/>
              <a:p>
                <a:endParaRPr lang="fr-FR"/>
              </a:p>
            </p:txBody>
          </p:sp>
        </p:grpSp>
        <p:sp>
          <p:nvSpPr>
            <p:cNvPr id="101" name="Text Box 30">
              <a:extLst>
                <a:ext uri="{FF2B5EF4-FFF2-40B4-BE49-F238E27FC236}">
                  <a16:creationId xmlns:a16="http://schemas.microsoft.com/office/drawing/2014/main" id="{0D99D9D3-EE8E-7315-34CD-5362DAB89B8B}"/>
                </a:ext>
              </a:extLst>
            </p:cNvPr>
            <p:cNvSpPr txBox="1">
              <a:spLocks noChangeArrowheads="1"/>
            </p:cNvSpPr>
            <p:nvPr/>
          </p:nvSpPr>
          <p:spPr bwMode="gray">
            <a:xfrm>
              <a:off x="2744454" y="5149915"/>
              <a:ext cx="1021433" cy="276999"/>
            </a:xfrm>
            <a:prstGeom prst="rect">
              <a:avLst/>
            </a:prstGeom>
            <a:noFill/>
            <a:ln w="9525">
              <a:noFill/>
              <a:miter lim="800000"/>
              <a:headEnd/>
              <a:tailEnd/>
            </a:ln>
          </p:spPr>
          <p:txBody>
            <a:bodyPr wrap="none" anchor="ctr">
              <a:spAutoFit/>
            </a:bodyPr>
            <a:lstStyle/>
            <a:p>
              <a:pPr algn="ctr"/>
              <a:r>
                <a:rPr lang="fr-FR" sz="1200" b="1" noProof="1"/>
                <a:t>Resources</a:t>
              </a:r>
            </a:p>
          </p:txBody>
        </p:sp>
        <p:grpSp>
          <p:nvGrpSpPr>
            <p:cNvPr id="102" name="Group 101">
              <a:extLst>
                <a:ext uri="{FF2B5EF4-FFF2-40B4-BE49-F238E27FC236}">
                  <a16:creationId xmlns:a16="http://schemas.microsoft.com/office/drawing/2014/main" id="{182342A0-E048-BCD4-D971-597AACB4F650}"/>
                </a:ext>
              </a:extLst>
            </p:cNvPr>
            <p:cNvGrpSpPr>
              <a:grpSpLocks/>
            </p:cNvGrpSpPr>
            <p:nvPr/>
          </p:nvGrpSpPr>
          <p:grpSpPr bwMode="auto">
            <a:xfrm>
              <a:off x="3997325" y="4643890"/>
              <a:ext cx="1417638" cy="1268413"/>
              <a:chOff x="1558" y="1918"/>
              <a:chExt cx="893" cy="799"/>
            </a:xfrm>
          </p:grpSpPr>
          <p:sp>
            <p:nvSpPr>
              <p:cNvPr id="103" name="Freeform 40">
                <a:extLst>
                  <a:ext uri="{FF2B5EF4-FFF2-40B4-BE49-F238E27FC236}">
                    <a16:creationId xmlns:a16="http://schemas.microsoft.com/office/drawing/2014/main" id="{BD044341-B050-4BB2-9F5C-1C7626681AE9}"/>
                  </a:ext>
                </a:extLst>
              </p:cNvPr>
              <p:cNvSpPr>
                <a:spLocks/>
              </p:cNvSpPr>
              <p:nvPr/>
            </p:nvSpPr>
            <p:spPr bwMode="gray">
              <a:xfrm>
                <a:off x="1696" y="1918"/>
                <a:ext cx="725" cy="799"/>
              </a:xfrm>
              <a:custGeom>
                <a:avLst/>
                <a:gdLst/>
                <a:ahLst/>
                <a:cxnLst>
                  <a:cxn ang="0">
                    <a:pos x="0" y="799"/>
                  </a:cxn>
                  <a:cxn ang="0">
                    <a:pos x="0" y="0"/>
                  </a:cxn>
                  <a:cxn ang="0">
                    <a:pos x="725" y="39"/>
                  </a:cxn>
                  <a:cxn ang="0">
                    <a:pos x="725" y="767"/>
                  </a:cxn>
                  <a:cxn ang="0">
                    <a:pos x="0" y="799"/>
                  </a:cxn>
                </a:cxnLst>
                <a:rect l="0" t="0" r="r" b="b"/>
                <a:pathLst>
                  <a:path w="725" h="799">
                    <a:moveTo>
                      <a:pt x="0" y="799"/>
                    </a:moveTo>
                    <a:lnTo>
                      <a:pt x="0" y="0"/>
                    </a:lnTo>
                    <a:lnTo>
                      <a:pt x="725" y="39"/>
                    </a:lnTo>
                    <a:lnTo>
                      <a:pt x="725" y="767"/>
                    </a:lnTo>
                    <a:lnTo>
                      <a:pt x="0" y="799"/>
                    </a:lnTo>
                    <a:close/>
                  </a:path>
                </a:pathLst>
              </a:custGeom>
              <a:gradFill rotWithShape="1">
                <a:gsLst>
                  <a:gs pos="0">
                    <a:srgbClr val="C9C9C9">
                      <a:gamma/>
                      <a:tint val="0"/>
                      <a:invGamma/>
                    </a:srgbClr>
                  </a:gs>
                  <a:gs pos="100000">
                    <a:srgbClr val="C9C9C9"/>
                  </a:gs>
                </a:gsLst>
                <a:lin ang="2700000" scaled="1"/>
              </a:gradFill>
              <a:ln w="9525">
                <a:noFill/>
                <a:round/>
                <a:headEnd/>
                <a:tailEnd/>
              </a:ln>
              <a:effectLst/>
            </p:spPr>
            <p:txBody>
              <a:bodyPr/>
              <a:lstStyle/>
              <a:p>
                <a:endParaRPr lang="fr-FR" sz="1200" b="1"/>
              </a:p>
            </p:txBody>
          </p:sp>
          <p:sp>
            <p:nvSpPr>
              <p:cNvPr id="104" name="Freeform 41">
                <a:extLst>
                  <a:ext uri="{FF2B5EF4-FFF2-40B4-BE49-F238E27FC236}">
                    <a16:creationId xmlns:a16="http://schemas.microsoft.com/office/drawing/2014/main" id="{A7CB8F06-C302-5C9D-9C6C-877C5D600E40}"/>
                  </a:ext>
                </a:extLst>
              </p:cNvPr>
              <p:cNvSpPr>
                <a:spLocks/>
              </p:cNvSpPr>
              <p:nvPr/>
            </p:nvSpPr>
            <p:spPr bwMode="gray">
              <a:xfrm>
                <a:off x="1558" y="1918"/>
                <a:ext cx="138" cy="799"/>
              </a:xfrm>
              <a:custGeom>
                <a:avLst/>
                <a:gdLst/>
                <a:ahLst/>
                <a:cxnLst>
                  <a:cxn ang="0">
                    <a:pos x="0" y="724"/>
                  </a:cxn>
                  <a:cxn ang="0">
                    <a:pos x="0" y="83"/>
                  </a:cxn>
                  <a:cxn ang="0">
                    <a:pos x="138" y="0"/>
                  </a:cxn>
                  <a:cxn ang="0">
                    <a:pos x="138" y="799"/>
                  </a:cxn>
                  <a:cxn ang="0">
                    <a:pos x="0" y="724"/>
                  </a:cxn>
                </a:cxnLst>
                <a:rect l="0" t="0" r="r" b="b"/>
                <a:pathLst>
                  <a:path w="138" h="799">
                    <a:moveTo>
                      <a:pt x="0" y="724"/>
                    </a:moveTo>
                    <a:lnTo>
                      <a:pt x="0" y="83"/>
                    </a:lnTo>
                    <a:lnTo>
                      <a:pt x="138" y="0"/>
                    </a:lnTo>
                    <a:lnTo>
                      <a:pt x="138" y="799"/>
                    </a:lnTo>
                    <a:lnTo>
                      <a:pt x="0" y="724"/>
                    </a:lnTo>
                    <a:close/>
                  </a:path>
                </a:pathLst>
              </a:custGeom>
              <a:gradFill rotWithShape="1">
                <a:gsLst>
                  <a:gs pos="0">
                    <a:srgbClr val="919191"/>
                  </a:gs>
                  <a:gs pos="100000">
                    <a:srgbClr val="919191">
                      <a:gamma/>
                      <a:shade val="30196"/>
                      <a:invGamma/>
                    </a:srgbClr>
                  </a:gs>
                </a:gsLst>
                <a:lin ang="5400000" scaled="1"/>
              </a:gradFill>
              <a:ln w="9525">
                <a:noFill/>
                <a:round/>
                <a:headEnd/>
                <a:tailEnd/>
              </a:ln>
              <a:effectLst/>
            </p:spPr>
            <p:txBody>
              <a:bodyPr/>
              <a:lstStyle/>
              <a:p>
                <a:endParaRPr lang="fr-FR" sz="1200" b="1"/>
              </a:p>
            </p:txBody>
          </p:sp>
          <p:sp>
            <p:nvSpPr>
              <p:cNvPr id="105" name="Freeform 42">
                <a:extLst>
                  <a:ext uri="{FF2B5EF4-FFF2-40B4-BE49-F238E27FC236}">
                    <a16:creationId xmlns:a16="http://schemas.microsoft.com/office/drawing/2014/main" id="{CEF7B375-D1EA-5FE9-A06B-9CADEAFCFFDF}"/>
                  </a:ext>
                </a:extLst>
              </p:cNvPr>
              <p:cNvSpPr>
                <a:spLocks/>
              </p:cNvSpPr>
              <p:nvPr/>
            </p:nvSpPr>
            <p:spPr bwMode="gray">
              <a:xfrm>
                <a:off x="1558" y="1918"/>
                <a:ext cx="138" cy="89"/>
              </a:xfrm>
              <a:custGeom>
                <a:avLst/>
                <a:gdLst/>
                <a:ahLst/>
                <a:cxnLst>
                  <a:cxn ang="0">
                    <a:pos x="0" y="83"/>
                  </a:cxn>
                  <a:cxn ang="0">
                    <a:pos x="138" y="0"/>
                  </a:cxn>
                  <a:cxn ang="0">
                    <a:pos x="138" y="89"/>
                  </a:cxn>
                  <a:cxn ang="0">
                    <a:pos x="0" y="83"/>
                  </a:cxn>
                </a:cxnLst>
                <a:rect l="0" t="0" r="r" b="b"/>
                <a:pathLst>
                  <a:path w="138" h="89">
                    <a:moveTo>
                      <a:pt x="0" y="83"/>
                    </a:moveTo>
                    <a:lnTo>
                      <a:pt x="138" y="0"/>
                    </a:lnTo>
                    <a:lnTo>
                      <a:pt x="138" y="89"/>
                    </a:lnTo>
                    <a:lnTo>
                      <a:pt x="0" y="83"/>
                    </a:lnTo>
                    <a:close/>
                  </a:path>
                </a:pathLst>
              </a:custGeom>
              <a:solidFill>
                <a:srgbClr val="808080"/>
              </a:solidFill>
              <a:ln w="9525">
                <a:noFill/>
                <a:round/>
                <a:headEnd/>
                <a:tailEnd/>
              </a:ln>
              <a:effectLst/>
            </p:spPr>
            <p:txBody>
              <a:bodyPr/>
              <a:lstStyle/>
              <a:p>
                <a:endParaRPr lang="fr-FR" sz="1200" b="1"/>
              </a:p>
            </p:txBody>
          </p:sp>
          <p:sp>
            <p:nvSpPr>
              <p:cNvPr id="106" name="Freeform 43">
                <a:extLst>
                  <a:ext uri="{FF2B5EF4-FFF2-40B4-BE49-F238E27FC236}">
                    <a16:creationId xmlns:a16="http://schemas.microsoft.com/office/drawing/2014/main" id="{387F54F3-85F3-70E6-2BE3-FE73BF7346EF}"/>
                  </a:ext>
                </a:extLst>
              </p:cNvPr>
              <p:cNvSpPr>
                <a:spLocks/>
              </p:cNvSpPr>
              <p:nvPr/>
            </p:nvSpPr>
            <p:spPr bwMode="gray">
              <a:xfrm>
                <a:off x="1696" y="1918"/>
                <a:ext cx="725" cy="113"/>
              </a:xfrm>
              <a:custGeom>
                <a:avLst/>
                <a:gdLst/>
                <a:ahLst/>
                <a:cxnLst>
                  <a:cxn ang="0">
                    <a:pos x="0" y="0"/>
                  </a:cxn>
                  <a:cxn ang="0">
                    <a:pos x="0" y="89"/>
                  </a:cxn>
                  <a:cxn ang="0">
                    <a:pos x="465" y="113"/>
                  </a:cxn>
                  <a:cxn ang="0">
                    <a:pos x="725" y="39"/>
                  </a:cxn>
                  <a:cxn ang="0">
                    <a:pos x="0" y="0"/>
                  </a:cxn>
                </a:cxnLst>
                <a:rect l="0" t="0" r="r" b="b"/>
                <a:pathLst>
                  <a:path w="725" h="113">
                    <a:moveTo>
                      <a:pt x="0" y="0"/>
                    </a:moveTo>
                    <a:lnTo>
                      <a:pt x="0" y="89"/>
                    </a:lnTo>
                    <a:lnTo>
                      <a:pt x="465" y="113"/>
                    </a:lnTo>
                    <a:lnTo>
                      <a:pt x="725" y="39"/>
                    </a:lnTo>
                    <a:lnTo>
                      <a:pt x="0" y="0"/>
                    </a:lnTo>
                    <a:close/>
                  </a:path>
                </a:pathLst>
              </a:custGeom>
              <a:solidFill>
                <a:srgbClr val="EAEAEA"/>
              </a:solidFill>
              <a:ln w="9525">
                <a:noFill/>
                <a:round/>
                <a:headEnd/>
                <a:tailEnd/>
              </a:ln>
              <a:effectLst/>
            </p:spPr>
            <p:txBody>
              <a:bodyPr/>
              <a:lstStyle/>
              <a:p>
                <a:endParaRPr lang="fr-FR" sz="1200" b="1"/>
              </a:p>
            </p:txBody>
          </p:sp>
          <p:sp>
            <p:nvSpPr>
              <p:cNvPr id="107" name="Freeform 44">
                <a:extLst>
                  <a:ext uri="{FF2B5EF4-FFF2-40B4-BE49-F238E27FC236}">
                    <a16:creationId xmlns:a16="http://schemas.microsoft.com/office/drawing/2014/main" id="{138D5561-E082-4D20-66C8-80AFD63E4E86}"/>
                  </a:ext>
                </a:extLst>
              </p:cNvPr>
              <p:cNvSpPr>
                <a:spLocks/>
              </p:cNvSpPr>
              <p:nvPr/>
            </p:nvSpPr>
            <p:spPr bwMode="gray">
              <a:xfrm>
                <a:off x="2161" y="1957"/>
                <a:ext cx="260" cy="728"/>
              </a:xfrm>
              <a:custGeom>
                <a:avLst/>
                <a:gdLst/>
                <a:ahLst/>
                <a:cxnLst>
                  <a:cxn ang="0">
                    <a:pos x="260" y="0"/>
                  </a:cxn>
                  <a:cxn ang="0">
                    <a:pos x="0" y="74"/>
                  </a:cxn>
                  <a:cxn ang="0">
                    <a:pos x="0" y="667"/>
                  </a:cxn>
                  <a:cxn ang="0">
                    <a:pos x="260" y="728"/>
                  </a:cxn>
                  <a:cxn ang="0">
                    <a:pos x="260" y="0"/>
                  </a:cxn>
                </a:cxnLst>
                <a:rect l="0" t="0" r="r" b="b"/>
                <a:pathLst>
                  <a:path w="260" h="728">
                    <a:moveTo>
                      <a:pt x="260" y="0"/>
                    </a:moveTo>
                    <a:lnTo>
                      <a:pt x="0" y="74"/>
                    </a:lnTo>
                    <a:lnTo>
                      <a:pt x="0" y="667"/>
                    </a:lnTo>
                    <a:lnTo>
                      <a:pt x="260" y="728"/>
                    </a:lnTo>
                    <a:lnTo>
                      <a:pt x="260" y="0"/>
                    </a:lnTo>
                    <a:close/>
                  </a:path>
                </a:pathLst>
              </a:custGeom>
              <a:solidFill>
                <a:srgbClr val="D1D1D1"/>
              </a:solidFill>
              <a:ln w="9525">
                <a:noFill/>
                <a:round/>
                <a:headEnd/>
                <a:tailEnd/>
              </a:ln>
              <a:effectLst/>
            </p:spPr>
            <p:txBody>
              <a:bodyPr/>
              <a:lstStyle/>
              <a:p>
                <a:endParaRPr lang="fr-FR" sz="1200" b="1"/>
              </a:p>
            </p:txBody>
          </p:sp>
          <p:sp>
            <p:nvSpPr>
              <p:cNvPr id="108" name="Freeform 45">
                <a:extLst>
                  <a:ext uri="{FF2B5EF4-FFF2-40B4-BE49-F238E27FC236}">
                    <a16:creationId xmlns:a16="http://schemas.microsoft.com/office/drawing/2014/main" id="{88C23705-BAC6-0559-5A50-5CA490EEA124}"/>
                  </a:ext>
                </a:extLst>
              </p:cNvPr>
              <p:cNvSpPr>
                <a:spLocks/>
              </p:cNvSpPr>
              <p:nvPr/>
            </p:nvSpPr>
            <p:spPr bwMode="gray">
              <a:xfrm>
                <a:off x="1696" y="2624"/>
                <a:ext cx="725" cy="93"/>
              </a:xfrm>
              <a:custGeom>
                <a:avLst/>
                <a:gdLst/>
                <a:ahLst/>
                <a:cxnLst>
                  <a:cxn ang="0">
                    <a:pos x="0" y="15"/>
                  </a:cxn>
                  <a:cxn ang="0">
                    <a:pos x="465" y="0"/>
                  </a:cxn>
                  <a:cxn ang="0">
                    <a:pos x="725" y="61"/>
                  </a:cxn>
                  <a:cxn ang="0">
                    <a:pos x="0" y="93"/>
                  </a:cxn>
                  <a:cxn ang="0">
                    <a:pos x="0" y="15"/>
                  </a:cxn>
                </a:cxnLst>
                <a:rect l="0" t="0" r="r" b="b"/>
                <a:pathLst>
                  <a:path w="725" h="93">
                    <a:moveTo>
                      <a:pt x="0" y="15"/>
                    </a:moveTo>
                    <a:lnTo>
                      <a:pt x="465" y="0"/>
                    </a:lnTo>
                    <a:lnTo>
                      <a:pt x="725" y="61"/>
                    </a:lnTo>
                    <a:lnTo>
                      <a:pt x="0" y="93"/>
                    </a:lnTo>
                    <a:lnTo>
                      <a:pt x="0" y="15"/>
                    </a:lnTo>
                    <a:close/>
                  </a:path>
                </a:pathLst>
              </a:custGeom>
              <a:solidFill>
                <a:srgbClr val="B2B2B2"/>
              </a:solidFill>
              <a:ln w="9525">
                <a:noFill/>
                <a:round/>
                <a:headEnd/>
                <a:tailEnd/>
              </a:ln>
              <a:effectLst/>
            </p:spPr>
            <p:txBody>
              <a:bodyPr/>
              <a:lstStyle/>
              <a:p>
                <a:endParaRPr lang="fr-FR" sz="1200" b="1"/>
              </a:p>
            </p:txBody>
          </p:sp>
          <p:sp>
            <p:nvSpPr>
              <p:cNvPr id="109" name="Freeform 46">
                <a:extLst>
                  <a:ext uri="{FF2B5EF4-FFF2-40B4-BE49-F238E27FC236}">
                    <a16:creationId xmlns:a16="http://schemas.microsoft.com/office/drawing/2014/main" id="{66501CCD-5C7E-889C-5A91-3DFD43BA703F}"/>
                  </a:ext>
                </a:extLst>
              </p:cNvPr>
              <p:cNvSpPr>
                <a:spLocks/>
              </p:cNvSpPr>
              <p:nvPr/>
            </p:nvSpPr>
            <p:spPr bwMode="gray">
              <a:xfrm>
                <a:off x="1558" y="2639"/>
                <a:ext cx="138" cy="78"/>
              </a:xfrm>
              <a:custGeom>
                <a:avLst/>
                <a:gdLst/>
                <a:ahLst/>
                <a:cxnLst>
                  <a:cxn ang="0">
                    <a:pos x="138" y="78"/>
                  </a:cxn>
                  <a:cxn ang="0">
                    <a:pos x="0" y="3"/>
                  </a:cxn>
                  <a:cxn ang="0">
                    <a:pos x="138" y="0"/>
                  </a:cxn>
                  <a:cxn ang="0">
                    <a:pos x="138" y="78"/>
                  </a:cxn>
                </a:cxnLst>
                <a:rect l="0" t="0" r="r" b="b"/>
                <a:pathLst>
                  <a:path w="138" h="78">
                    <a:moveTo>
                      <a:pt x="138" y="78"/>
                    </a:moveTo>
                    <a:lnTo>
                      <a:pt x="0" y="3"/>
                    </a:lnTo>
                    <a:lnTo>
                      <a:pt x="138" y="0"/>
                    </a:lnTo>
                    <a:lnTo>
                      <a:pt x="138" y="78"/>
                    </a:lnTo>
                    <a:close/>
                  </a:path>
                </a:pathLst>
              </a:custGeom>
              <a:solidFill>
                <a:srgbClr val="000000"/>
              </a:solidFill>
              <a:ln w="9525">
                <a:noFill/>
                <a:round/>
                <a:headEnd/>
                <a:tailEnd/>
              </a:ln>
            </p:spPr>
            <p:txBody>
              <a:bodyPr/>
              <a:lstStyle/>
              <a:p>
                <a:endParaRPr lang="fr-FR" sz="1200" b="1"/>
              </a:p>
            </p:txBody>
          </p:sp>
          <p:sp>
            <p:nvSpPr>
              <p:cNvPr id="110" name="Text Box 97">
                <a:extLst>
                  <a:ext uri="{FF2B5EF4-FFF2-40B4-BE49-F238E27FC236}">
                    <a16:creationId xmlns:a16="http://schemas.microsoft.com/office/drawing/2014/main" id="{DC3B2AE6-F4A5-88A6-82E4-307B62D170B5}"/>
                  </a:ext>
                </a:extLst>
              </p:cNvPr>
              <p:cNvSpPr txBox="1">
                <a:spLocks noChangeArrowheads="1"/>
              </p:cNvSpPr>
              <p:nvPr/>
            </p:nvSpPr>
            <p:spPr bwMode="gray">
              <a:xfrm>
                <a:off x="1680" y="2229"/>
                <a:ext cx="771" cy="174"/>
              </a:xfrm>
              <a:prstGeom prst="rect">
                <a:avLst/>
              </a:prstGeom>
              <a:noFill/>
              <a:ln w="9525">
                <a:noFill/>
                <a:miter lim="800000"/>
                <a:headEnd/>
                <a:tailEnd/>
              </a:ln>
            </p:spPr>
            <p:txBody>
              <a:bodyPr wrap="none" anchor="ctr">
                <a:spAutoFit/>
              </a:bodyPr>
              <a:lstStyle/>
              <a:p>
                <a:pPr algn="ctr"/>
                <a:r>
                  <a:rPr lang="fr-FR" sz="1200" b="1" noProof="1"/>
                  <a:t>Competence</a:t>
                </a:r>
              </a:p>
            </p:txBody>
          </p:sp>
        </p:grpSp>
        <p:sp>
          <p:nvSpPr>
            <p:cNvPr id="111" name="Text Box 98">
              <a:extLst>
                <a:ext uri="{FF2B5EF4-FFF2-40B4-BE49-F238E27FC236}">
                  <a16:creationId xmlns:a16="http://schemas.microsoft.com/office/drawing/2014/main" id="{D6B528EC-9F3B-308C-EB1F-38BC8F36A817}"/>
                </a:ext>
              </a:extLst>
            </p:cNvPr>
            <p:cNvSpPr txBox="1">
              <a:spLocks noChangeArrowheads="1"/>
            </p:cNvSpPr>
            <p:nvPr/>
          </p:nvSpPr>
          <p:spPr bwMode="gray">
            <a:xfrm>
              <a:off x="6651408" y="5138009"/>
              <a:ext cx="1486305" cy="276999"/>
            </a:xfrm>
            <a:prstGeom prst="rect">
              <a:avLst/>
            </a:prstGeom>
            <a:noFill/>
            <a:ln w="9525">
              <a:noFill/>
              <a:miter lim="800000"/>
              <a:headEnd/>
              <a:tailEnd/>
            </a:ln>
          </p:spPr>
          <p:txBody>
            <a:bodyPr wrap="none" anchor="ctr">
              <a:spAutoFit/>
            </a:bodyPr>
            <a:lstStyle/>
            <a:p>
              <a:pPr algn="ctr"/>
              <a:r>
                <a:rPr lang="fr-FR" sz="1200" b="1" noProof="1"/>
                <a:t>Communication</a:t>
              </a:r>
            </a:p>
          </p:txBody>
        </p:sp>
        <p:sp>
          <p:nvSpPr>
            <p:cNvPr id="112" name="Text Box 99">
              <a:extLst>
                <a:ext uri="{FF2B5EF4-FFF2-40B4-BE49-F238E27FC236}">
                  <a16:creationId xmlns:a16="http://schemas.microsoft.com/office/drawing/2014/main" id="{5BEF6BC9-DF42-20D3-CB16-1ED0EF4FB1FC}"/>
                </a:ext>
              </a:extLst>
            </p:cNvPr>
            <p:cNvSpPr txBox="1">
              <a:spLocks noChangeArrowheads="1"/>
            </p:cNvSpPr>
            <p:nvPr/>
          </p:nvSpPr>
          <p:spPr bwMode="gray">
            <a:xfrm>
              <a:off x="8182783" y="5149915"/>
              <a:ext cx="1457450" cy="276999"/>
            </a:xfrm>
            <a:prstGeom prst="rect">
              <a:avLst/>
            </a:prstGeom>
            <a:noFill/>
            <a:ln w="9525">
              <a:noFill/>
              <a:miter lim="800000"/>
              <a:headEnd/>
              <a:tailEnd/>
            </a:ln>
          </p:spPr>
          <p:txBody>
            <a:bodyPr wrap="none" anchor="ctr">
              <a:spAutoFit/>
            </a:bodyPr>
            <a:lstStyle/>
            <a:p>
              <a:pPr algn="ctr"/>
              <a:r>
                <a:rPr lang="fr-FR" sz="1200" b="1" noProof="1"/>
                <a:t>Documentation</a:t>
              </a:r>
            </a:p>
          </p:txBody>
        </p:sp>
        <p:sp>
          <p:nvSpPr>
            <p:cNvPr id="113" name="Text Box 100">
              <a:extLst>
                <a:ext uri="{FF2B5EF4-FFF2-40B4-BE49-F238E27FC236}">
                  <a16:creationId xmlns:a16="http://schemas.microsoft.com/office/drawing/2014/main" id="{B006CE8D-3697-D277-B35E-FE82118215E3}"/>
                </a:ext>
              </a:extLst>
            </p:cNvPr>
            <p:cNvSpPr txBox="1">
              <a:spLocks noChangeArrowheads="1"/>
            </p:cNvSpPr>
            <p:nvPr/>
          </p:nvSpPr>
          <p:spPr bwMode="gray">
            <a:xfrm>
              <a:off x="5557255" y="5159440"/>
              <a:ext cx="1072730" cy="276999"/>
            </a:xfrm>
            <a:prstGeom prst="rect">
              <a:avLst/>
            </a:prstGeom>
            <a:noFill/>
            <a:ln w="9525">
              <a:noFill/>
              <a:miter lim="800000"/>
              <a:headEnd/>
              <a:tailEnd/>
            </a:ln>
          </p:spPr>
          <p:txBody>
            <a:bodyPr wrap="none" anchor="ctr">
              <a:spAutoFit/>
            </a:bodyPr>
            <a:lstStyle/>
            <a:p>
              <a:pPr algn="ctr"/>
              <a:r>
                <a:rPr lang="fr-FR" sz="1200" b="1" noProof="1"/>
                <a:t>Awareness</a:t>
              </a:r>
            </a:p>
          </p:txBody>
        </p:sp>
        <p:pic>
          <p:nvPicPr>
            <p:cNvPr id="3" name="Picture 4">
              <a:extLst>
                <a:ext uri="{FF2B5EF4-FFF2-40B4-BE49-F238E27FC236}">
                  <a16:creationId xmlns:a16="http://schemas.microsoft.com/office/drawing/2014/main" id="{13E5A5ED-3105-7C32-8C7C-64C05AEF3D66}"/>
                </a:ext>
              </a:extLst>
            </p:cNvPr>
            <p:cNvPicPr>
              <a:picLocks noChangeAspect="1" noChangeArrowheads="1"/>
            </p:cNvPicPr>
            <p:nvPr/>
          </p:nvPicPr>
          <p:blipFill>
            <a:blip r:embed="rId5" cstate="print">
              <a:lum bright="18000"/>
            </a:blip>
            <a:srcRect/>
            <a:stretch>
              <a:fillRect/>
            </a:stretch>
          </p:blipFill>
          <p:spPr bwMode="gray">
            <a:xfrm>
              <a:off x="2242344" y="5608444"/>
              <a:ext cx="2576513" cy="665163"/>
            </a:xfrm>
            <a:prstGeom prst="rect">
              <a:avLst/>
            </a:prstGeom>
            <a:noFill/>
          </p:spPr>
        </p:pic>
      </p:grpSp>
      <p:sp>
        <p:nvSpPr>
          <p:cNvPr id="116" name="Rectangle 115">
            <a:extLst>
              <a:ext uri="{FF2B5EF4-FFF2-40B4-BE49-F238E27FC236}">
                <a16:creationId xmlns:a16="http://schemas.microsoft.com/office/drawing/2014/main" id="{64709CA4-E39A-8766-47B1-ABD37DCE8749}"/>
              </a:ext>
            </a:extLst>
          </p:cNvPr>
          <p:cNvSpPr/>
          <p:nvPr/>
        </p:nvSpPr>
        <p:spPr>
          <a:xfrm>
            <a:off x="1933576" y="4101483"/>
            <a:ext cx="9818686" cy="53798"/>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a:extLst>
              <a:ext uri="{FF2B5EF4-FFF2-40B4-BE49-F238E27FC236}">
                <a16:creationId xmlns:a16="http://schemas.microsoft.com/office/drawing/2014/main" id="{3CAA62D3-E5D3-6085-0E01-3A34C3C893A9}"/>
              </a:ext>
            </a:extLst>
          </p:cNvPr>
          <p:cNvSpPr/>
          <p:nvPr/>
        </p:nvSpPr>
        <p:spPr>
          <a:xfrm>
            <a:off x="2135980" y="1029617"/>
            <a:ext cx="9616281" cy="49499"/>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3498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additive="base">
                                        <p:cTn id="7" dur="1000" fill="hold"/>
                                        <p:tgtEl>
                                          <p:spTgt spid="117"/>
                                        </p:tgtEl>
                                        <p:attrNameLst>
                                          <p:attrName>ppt_x</p:attrName>
                                        </p:attrNameLst>
                                      </p:cBhvr>
                                      <p:tavLst>
                                        <p:tav tm="0">
                                          <p:val>
                                            <p:strVal val="1+#ppt_w/2"/>
                                          </p:val>
                                        </p:tav>
                                        <p:tav tm="100000">
                                          <p:val>
                                            <p:strVal val="#ppt_x"/>
                                          </p:val>
                                        </p:tav>
                                      </p:tavLst>
                                    </p:anim>
                                    <p:anim calcmode="lin" valueType="num">
                                      <p:cBhvr additive="base">
                                        <p:cTn id="8" dur="1000" fill="hold"/>
                                        <p:tgtEl>
                                          <p:spTgt spid="11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1000" fill="hold"/>
                                        <p:tgtEl>
                                          <p:spTgt spid="48"/>
                                        </p:tgtEl>
                                        <p:attrNameLst>
                                          <p:attrName>ppt_x</p:attrName>
                                        </p:attrNameLst>
                                      </p:cBhvr>
                                      <p:tavLst>
                                        <p:tav tm="0">
                                          <p:val>
                                            <p:strVal val="0-#ppt_w/2"/>
                                          </p:val>
                                        </p:tav>
                                        <p:tav tm="100000">
                                          <p:val>
                                            <p:strVal val="#ppt_x"/>
                                          </p:val>
                                        </p:tav>
                                      </p:tavLst>
                                    </p:anim>
                                    <p:anim calcmode="lin" valueType="num">
                                      <p:cBhvr additive="base">
                                        <p:cTn id="12" dur="1000" fill="hold"/>
                                        <p:tgtEl>
                                          <p:spTgt spid="48"/>
                                        </p:tgtEl>
                                        <p:attrNameLst>
                                          <p:attrName>ppt_y</p:attrName>
                                        </p:attrNameLst>
                                      </p:cBhvr>
                                      <p:tavLst>
                                        <p:tav tm="0">
                                          <p:val>
                                            <p:strVal val="#ppt_y"/>
                                          </p:val>
                                        </p:tav>
                                        <p:tav tm="100000">
                                          <p:val>
                                            <p:strVal val="#ppt_y"/>
                                          </p:val>
                                        </p:tav>
                                      </p:tavLst>
                                    </p:anim>
                                  </p:childTnLst>
                                </p:cTn>
                              </p:par>
                              <p:par>
                                <p:cTn id="13" presetID="1" presetClass="entr" presetSubtype="0" fill="hold" nodeType="withEffect">
                                  <p:stCondLst>
                                    <p:cond delay="0"/>
                                  </p:stCondLst>
                                  <p:childTnLst>
                                    <p:set>
                                      <p:cBhvr>
                                        <p:cTn id="14" dur="1" fill="hold">
                                          <p:stCondLst>
                                            <p:cond delay="999"/>
                                          </p:stCondLst>
                                        </p:cTn>
                                        <p:tgtEl>
                                          <p:spTgt spid="115"/>
                                        </p:tgtEl>
                                        <p:attrNameLst>
                                          <p:attrName>style.visibility</p:attrName>
                                        </p:attrNameLst>
                                      </p:cBhvr>
                                      <p:to>
                                        <p:strVal val="visible"/>
                                      </p:to>
                                    </p:set>
                                  </p:childTnLst>
                                </p:cTn>
                              </p:par>
                              <p:par>
                                <p:cTn id="15" presetID="2" presetClass="entr" presetSubtype="8"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anim calcmode="lin" valueType="num">
                                      <p:cBhvr additive="base">
                                        <p:cTn id="17" dur="1000" fill="hold"/>
                                        <p:tgtEl>
                                          <p:spTgt spid="49"/>
                                        </p:tgtEl>
                                        <p:attrNameLst>
                                          <p:attrName>ppt_x</p:attrName>
                                        </p:attrNameLst>
                                      </p:cBhvr>
                                      <p:tavLst>
                                        <p:tav tm="0">
                                          <p:val>
                                            <p:strVal val="0-#ppt_w/2"/>
                                          </p:val>
                                        </p:tav>
                                        <p:tav tm="100000">
                                          <p:val>
                                            <p:strVal val="#ppt_x"/>
                                          </p:val>
                                        </p:tav>
                                      </p:tavLst>
                                    </p:anim>
                                    <p:anim calcmode="lin" valueType="num">
                                      <p:cBhvr additive="base">
                                        <p:cTn id="18" dur="1000" fill="hold"/>
                                        <p:tgtEl>
                                          <p:spTgt spid="49"/>
                                        </p:tgtEl>
                                        <p:attrNameLst>
                                          <p:attrName>ppt_y</p:attrName>
                                        </p:attrNameLst>
                                      </p:cBhvr>
                                      <p:tavLst>
                                        <p:tav tm="0">
                                          <p:val>
                                            <p:strVal val="#ppt_y"/>
                                          </p:val>
                                        </p:tav>
                                        <p:tav tm="100000">
                                          <p:val>
                                            <p:strVal val="#ppt_y"/>
                                          </p:val>
                                        </p:tav>
                                      </p:tavLst>
                                    </p:anim>
                                  </p:childTnLst>
                                </p:cTn>
                              </p:par>
                              <p:par>
                                <p:cTn id="19" presetID="2" presetClass="entr" presetSubtype="2" fill="hold" grpId="0" nodeType="withEffect">
                                  <p:stCondLst>
                                    <p:cond delay="0"/>
                                  </p:stCondLst>
                                  <p:childTnLst>
                                    <p:set>
                                      <p:cBhvr>
                                        <p:cTn id="20" dur="1" fill="hold">
                                          <p:stCondLst>
                                            <p:cond delay="0"/>
                                          </p:stCondLst>
                                        </p:cTn>
                                        <p:tgtEl>
                                          <p:spTgt spid="116"/>
                                        </p:tgtEl>
                                        <p:attrNameLst>
                                          <p:attrName>style.visibility</p:attrName>
                                        </p:attrNameLst>
                                      </p:cBhvr>
                                      <p:to>
                                        <p:strVal val="visible"/>
                                      </p:to>
                                    </p:set>
                                    <p:anim calcmode="lin" valueType="num">
                                      <p:cBhvr additive="base">
                                        <p:cTn id="21" dur="1000" fill="hold"/>
                                        <p:tgtEl>
                                          <p:spTgt spid="116"/>
                                        </p:tgtEl>
                                        <p:attrNameLst>
                                          <p:attrName>ppt_x</p:attrName>
                                        </p:attrNameLst>
                                      </p:cBhvr>
                                      <p:tavLst>
                                        <p:tav tm="0">
                                          <p:val>
                                            <p:strVal val="1+#ppt_w/2"/>
                                          </p:val>
                                        </p:tav>
                                        <p:tav tm="100000">
                                          <p:val>
                                            <p:strVal val="#ppt_x"/>
                                          </p:val>
                                        </p:tav>
                                      </p:tavLst>
                                    </p:anim>
                                    <p:anim calcmode="lin" valueType="num">
                                      <p:cBhvr additive="base">
                                        <p:cTn id="22" dur="1000" fill="hold"/>
                                        <p:tgtEl>
                                          <p:spTgt spid="116"/>
                                        </p:tgtEl>
                                        <p:attrNameLst>
                                          <p:attrName>ppt_y</p:attrName>
                                        </p:attrNameLst>
                                      </p:cBhvr>
                                      <p:tavLst>
                                        <p:tav tm="0">
                                          <p:val>
                                            <p:strVal val="#ppt_y"/>
                                          </p:val>
                                        </p:tav>
                                        <p:tav tm="100000">
                                          <p:val>
                                            <p:strVal val="#ppt_y"/>
                                          </p:val>
                                        </p:tav>
                                      </p:tavLst>
                                    </p:anim>
                                  </p:childTnLst>
                                </p:cTn>
                              </p:par>
                              <p:par>
                                <p:cTn id="23" presetID="1" presetClass="entr" presetSubtype="0" fill="hold" nodeType="withEffect">
                                  <p:stCondLst>
                                    <p:cond delay="0"/>
                                  </p:stCondLst>
                                  <p:childTnLst>
                                    <p:set>
                                      <p:cBhvr>
                                        <p:cTn id="24" dur="1" fill="hold">
                                          <p:stCondLst>
                                            <p:cond delay="999"/>
                                          </p:stCondLst>
                                        </p:cTn>
                                        <p:tgtEl>
                                          <p:spTgt spid="1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999"/>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999"/>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99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116" grpId="0" animBg="1"/>
      <p:bldP spid="1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9E3CBC6-2CF2-750E-7197-5F40F4C95C3D}"/>
              </a:ext>
            </a:extLst>
          </p:cNvPr>
          <p:cNvPicPr>
            <a:picLocks noChangeAspect="1" noChangeArrowheads="1"/>
          </p:cNvPicPr>
          <p:nvPr/>
        </p:nvPicPr>
        <p:blipFill>
          <a:blip r:embed="rId8" cstate="print"/>
          <a:srcRect/>
          <a:stretch>
            <a:fillRect/>
          </a:stretch>
        </p:blipFill>
        <p:spPr bwMode="auto">
          <a:xfrm>
            <a:off x="4203700" y="5672431"/>
            <a:ext cx="3786188" cy="441325"/>
          </a:xfrm>
          <a:prstGeom prst="rect">
            <a:avLst/>
          </a:prstGeom>
          <a:noFill/>
          <a:ln w="9525">
            <a:miter lim="800000"/>
            <a:headEnd/>
            <a:tailEnd/>
          </a:ln>
          <a:effectLst/>
        </p:spPr>
      </p:pic>
      <p:sp>
        <p:nvSpPr>
          <p:cNvPr id="6" name="Line 45">
            <a:extLst>
              <a:ext uri="{FF2B5EF4-FFF2-40B4-BE49-F238E27FC236}">
                <a16:creationId xmlns:a16="http://schemas.microsoft.com/office/drawing/2014/main" id="{A0896D8A-842A-7BCF-A042-9BCCE7767652}"/>
              </a:ext>
            </a:extLst>
          </p:cNvPr>
          <p:cNvSpPr>
            <a:spLocks noChangeShapeType="1"/>
          </p:cNvSpPr>
          <p:nvPr/>
        </p:nvSpPr>
        <p:spPr bwMode="gray">
          <a:xfrm>
            <a:off x="7042151" y="2075155"/>
            <a:ext cx="3317875" cy="0"/>
          </a:xfrm>
          <a:prstGeom prst="line">
            <a:avLst/>
          </a:prstGeom>
          <a:noFill/>
          <a:ln w="19050">
            <a:solidFill>
              <a:srgbClr val="868282"/>
            </a:solidFill>
            <a:prstDash val="sysDot"/>
            <a:round/>
            <a:headEnd/>
            <a:tailEnd/>
          </a:ln>
        </p:spPr>
        <p:txBody>
          <a:bodyPr/>
          <a:lstStyle/>
          <a:p>
            <a:endParaRPr lang="en-US"/>
          </a:p>
        </p:txBody>
      </p:sp>
      <p:sp>
        <p:nvSpPr>
          <p:cNvPr id="7" name="Line 51">
            <a:extLst>
              <a:ext uri="{FF2B5EF4-FFF2-40B4-BE49-F238E27FC236}">
                <a16:creationId xmlns:a16="http://schemas.microsoft.com/office/drawing/2014/main" id="{891C1DAF-9B69-F7CA-8DB6-B42A4828AB14}"/>
              </a:ext>
            </a:extLst>
          </p:cNvPr>
          <p:cNvSpPr>
            <a:spLocks noChangeShapeType="1"/>
          </p:cNvSpPr>
          <p:nvPr/>
        </p:nvSpPr>
        <p:spPr bwMode="gray">
          <a:xfrm>
            <a:off x="1860551" y="2075155"/>
            <a:ext cx="3279775" cy="0"/>
          </a:xfrm>
          <a:prstGeom prst="line">
            <a:avLst/>
          </a:prstGeom>
          <a:noFill/>
          <a:ln w="19050">
            <a:solidFill>
              <a:srgbClr val="868282"/>
            </a:solidFill>
            <a:prstDash val="sysDot"/>
            <a:round/>
            <a:headEnd/>
            <a:tailEnd/>
          </a:ln>
        </p:spPr>
        <p:txBody>
          <a:bodyPr/>
          <a:lstStyle/>
          <a:p>
            <a:endParaRPr lang="en-US"/>
          </a:p>
        </p:txBody>
      </p:sp>
      <p:sp>
        <p:nvSpPr>
          <p:cNvPr id="8" name="Text Box 46">
            <a:extLst>
              <a:ext uri="{FF2B5EF4-FFF2-40B4-BE49-F238E27FC236}">
                <a16:creationId xmlns:a16="http://schemas.microsoft.com/office/drawing/2014/main" id="{0079B259-F7DC-5F9C-7A14-8CE4F61D9868}"/>
              </a:ext>
            </a:extLst>
          </p:cNvPr>
          <p:cNvSpPr txBox="1">
            <a:spLocks noChangeArrowheads="1"/>
          </p:cNvSpPr>
          <p:nvPr/>
        </p:nvSpPr>
        <p:spPr bwMode="gray">
          <a:xfrm>
            <a:off x="7543800" y="2221022"/>
            <a:ext cx="3200400" cy="830997"/>
          </a:xfrm>
          <a:prstGeom prst="rect">
            <a:avLst/>
          </a:prstGeom>
          <a:noFill/>
          <a:ln w="9525">
            <a:noFill/>
            <a:miter lim="800000"/>
            <a:headEnd/>
            <a:tailEnd/>
          </a:ln>
        </p:spPr>
        <p:txBody>
          <a:bodyPr wrap="square">
            <a:spAutoFit/>
          </a:bodyPr>
          <a:lstStyle/>
          <a:p>
            <a:pPr marL="177800" indent="-177800" defTabSz="801688">
              <a:spcBef>
                <a:spcPct val="20000"/>
              </a:spcBef>
            </a:pPr>
            <a:r>
              <a:rPr lang="en-US" sz="1200" b="1" dirty="0">
                <a:cs typeface="Arial" charset="0"/>
              </a:rPr>
              <a:t>2. </a:t>
            </a:r>
            <a:r>
              <a:rPr lang="en-US" sz="1200" dirty="0">
                <a:cs typeface="Arial" charset="0"/>
              </a:rPr>
              <a:t>Regular review of the effectiveness of the EMS taking into account the feedback and suggestions of the stakeholders</a:t>
            </a:r>
          </a:p>
        </p:txBody>
      </p:sp>
      <p:sp>
        <p:nvSpPr>
          <p:cNvPr id="9" name="Text Box 47">
            <a:extLst>
              <a:ext uri="{FF2B5EF4-FFF2-40B4-BE49-F238E27FC236}">
                <a16:creationId xmlns:a16="http://schemas.microsoft.com/office/drawing/2014/main" id="{DCC9B168-2850-59B2-CBDB-D4903891357C}"/>
              </a:ext>
            </a:extLst>
          </p:cNvPr>
          <p:cNvSpPr txBox="1">
            <a:spLocks noChangeArrowheads="1"/>
          </p:cNvSpPr>
          <p:nvPr/>
        </p:nvSpPr>
        <p:spPr bwMode="gray">
          <a:xfrm>
            <a:off x="7696200" y="5016808"/>
            <a:ext cx="2895600" cy="461665"/>
          </a:xfrm>
          <a:prstGeom prst="rect">
            <a:avLst/>
          </a:prstGeom>
          <a:noFill/>
          <a:ln w="9525">
            <a:noFill/>
            <a:miter lim="800000"/>
            <a:headEnd/>
            <a:tailEnd/>
          </a:ln>
        </p:spPr>
        <p:txBody>
          <a:bodyPr wrap="square">
            <a:spAutoFit/>
          </a:bodyPr>
          <a:lstStyle/>
          <a:p>
            <a:pPr marL="177800" indent="-177800" defTabSz="801688">
              <a:spcBef>
                <a:spcPct val="20000"/>
              </a:spcBef>
            </a:pPr>
            <a:r>
              <a:rPr lang="en-US" sz="1200" b="1" dirty="0">
                <a:cs typeface="Arial" charset="0"/>
              </a:rPr>
              <a:t>4. </a:t>
            </a:r>
            <a:r>
              <a:rPr lang="en-US" sz="1200" dirty="0">
                <a:cs typeface="Arial" charset="0"/>
              </a:rPr>
              <a:t>Review of risk assessments and risk treatment</a:t>
            </a:r>
          </a:p>
        </p:txBody>
      </p:sp>
      <p:sp>
        <p:nvSpPr>
          <p:cNvPr id="10" name="Text Box 52">
            <a:extLst>
              <a:ext uri="{FF2B5EF4-FFF2-40B4-BE49-F238E27FC236}">
                <a16:creationId xmlns:a16="http://schemas.microsoft.com/office/drawing/2014/main" id="{02A5D70B-2213-9C76-960C-22EB0EB0C878}"/>
              </a:ext>
            </a:extLst>
          </p:cNvPr>
          <p:cNvSpPr txBox="1">
            <a:spLocks noChangeArrowheads="1"/>
          </p:cNvSpPr>
          <p:nvPr/>
        </p:nvSpPr>
        <p:spPr bwMode="gray">
          <a:xfrm>
            <a:off x="1905000" y="2256102"/>
            <a:ext cx="3429000" cy="720197"/>
          </a:xfrm>
          <a:prstGeom prst="rect">
            <a:avLst/>
          </a:prstGeom>
          <a:noFill/>
          <a:ln w="9525">
            <a:noFill/>
            <a:miter lim="800000"/>
            <a:headEnd/>
            <a:tailEnd/>
          </a:ln>
        </p:spPr>
        <p:txBody>
          <a:bodyPr wrap="square" anchor="ctr" anchorCtr="0">
            <a:spAutoFit/>
          </a:bodyPr>
          <a:lstStyle/>
          <a:p>
            <a:pPr defTabSz="801688">
              <a:spcBef>
                <a:spcPct val="20000"/>
              </a:spcBef>
            </a:pPr>
            <a:r>
              <a:rPr lang="en-US" sz="1200" b="1" dirty="0">
                <a:cs typeface="Arial" charset="0"/>
              </a:rPr>
              <a:t>1. </a:t>
            </a:r>
            <a:r>
              <a:rPr lang="en-US" sz="1200" dirty="0">
                <a:cs typeface="Arial" charset="0"/>
              </a:rPr>
              <a:t>Monitoring and review of detection </a:t>
            </a:r>
          </a:p>
          <a:p>
            <a:pPr defTabSz="801688">
              <a:spcBef>
                <a:spcPct val="20000"/>
              </a:spcBef>
            </a:pPr>
            <a:r>
              <a:rPr lang="en-US" sz="1200" dirty="0">
                <a:cs typeface="Arial" charset="0"/>
              </a:rPr>
              <a:t>and environmental events </a:t>
            </a:r>
          </a:p>
          <a:p>
            <a:pPr defTabSz="801688">
              <a:spcBef>
                <a:spcPct val="20000"/>
              </a:spcBef>
            </a:pPr>
            <a:r>
              <a:rPr lang="en-US" sz="1200" dirty="0">
                <a:cs typeface="Arial" charset="0"/>
              </a:rPr>
              <a:t>prevention procedures</a:t>
            </a:r>
          </a:p>
        </p:txBody>
      </p:sp>
      <p:sp>
        <p:nvSpPr>
          <p:cNvPr id="11" name="Text Box 53">
            <a:extLst>
              <a:ext uri="{FF2B5EF4-FFF2-40B4-BE49-F238E27FC236}">
                <a16:creationId xmlns:a16="http://schemas.microsoft.com/office/drawing/2014/main" id="{C3264B60-9699-3196-21DF-8A053211D163}"/>
              </a:ext>
            </a:extLst>
          </p:cNvPr>
          <p:cNvSpPr txBox="1">
            <a:spLocks noChangeArrowheads="1"/>
          </p:cNvSpPr>
          <p:nvPr/>
        </p:nvSpPr>
        <p:spPr bwMode="gray">
          <a:xfrm>
            <a:off x="8143876" y="3695115"/>
            <a:ext cx="2524125" cy="646331"/>
          </a:xfrm>
          <a:prstGeom prst="rect">
            <a:avLst/>
          </a:prstGeom>
          <a:noFill/>
          <a:ln w="9525">
            <a:noFill/>
            <a:miter lim="800000"/>
            <a:headEnd/>
            <a:tailEnd/>
          </a:ln>
        </p:spPr>
        <p:txBody>
          <a:bodyPr>
            <a:spAutoFit/>
          </a:bodyPr>
          <a:lstStyle/>
          <a:p>
            <a:pPr defTabSz="801688">
              <a:spcBef>
                <a:spcPct val="20000"/>
              </a:spcBef>
            </a:pPr>
            <a:r>
              <a:rPr lang="en-US" sz="1200" b="1" dirty="0">
                <a:solidFill>
                  <a:srgbClr val="080808"/>
                </a:solidFill>
                <a:cs typeface="Arial" charset="0"/>
              </a:rPr>
              <a:t>3. </a:t>
            </a:r>
            <a:r>
              <a:rPr lang="en-US" sz="1200" dirty="0">
                <a:solidFill>
                  <a:srgbClr val="080808"/>
                </a:solidFill>
                <a:cs typeface="Arial" charset="0"/>
              </a:rPr>
              <a:t>Measurement of the effectiveness of processes and controls</a:t>
            </a:r>
          </a:p>
        </p:txBody>
      </p:sp>
      <p:sp>
        <p:nvSpPr>
          <p:cNvPr id="12" name="Freeform 13">
            <a:extLst>
              <a:ext uri="{FF2B5EF4-FFF2-40B4-BE49-F238E27FC236}">
                <a16:creationId xmlns:a16="http://schemas.microsoft.com/office/drawing/2014/main" id="{3AB0BAA3-D2EF-10A2-484C-E32C18859A7E}"/>
              </a:ext>
            </a:extLst>
          </p:cNvPr>
          <p:cNvSpPr>
            <a:spLocks/>
          </p:cNvSpPr>
          <p:nvPr>
            <p:custDataLst>
              <p:tags r:id="rId1"/>
            </p:custDataLst>
          </p:nvPr>
        </p:nvSpPr>
        <p:spPr bwMode="gray">
          <a:xfrm>
            <a:off x="4351339" y="3114969"/>
            <a:ext cx="746125" cy="1736725"/>
          </a:xfrm>
          <a:custGeom>
            <a:avLst/>
            <a:gdLst/>
            <a:ahLst/>
            <a:cxnLst>
              <a:cxn ang="0">
                <a:pos x="125" y="243"/>
              </a:cxn>
              <a:cxn ang="0">
                <a:pos x="110" y="61"/>
              </a:cxn>
              <a:cxn ang="0">
                <a:pos x="89" y="0"/>
              </a:cxn>
              <a:cxn ang="0">
                <a:pos x="28" y="12"/>
              </a:cxn>
              <a:cxn ang="0">
                <a:pos x="0" y="137"/>
              </a:cxn>
              <a:cxn ang="0">
                <a:pos x="43" y="290"/>
              </a:cxn>
              <a:cxn ang="0">
                <a:pos x="63" y="230"/>
              </a:cxn>
              <a:cxn ang="0">
                <a:pos x="125" y="243"/>
              </a:cxn>
            </a:cxnLst>
            <a:rect l="0" t="0" r="r" b="b"/>
            <a:pathLst>
              <a:path w="125" h="290">
                <a:moveTo>
                  <a:pt x="125" y="243"/>
                </a:moveTo>
                <a:cubicBezTo>
                  <a:pt x="92" y="190"/>
                  <a:pt x="85" y="122"/>
                  <a:pt x="110" y="61"/>
                </a:cubicBezTo>
                <a:cubicBezTo>
                  <a:pt x="89" y="0"/>
                  <a:pt x="89" y="0"/>
                  <a:pt x="89" y="0"/>
                </a:cubicBezTo>
                <a:cubicBezTo>
                  <a:pt x="28" y="12"/>
                  <a:pt x="28" y="12"/>
                  <a:pt x="28" y="12"/>
                </a:cubicBezTo>
                <a:cubicBezTo>
                  <a:pt x="10" y="50"/>
                  <a:pt x="0" y="92"/>
                  <a:pt x="0" y="137"/>
                </a:cubicBezTo>
                <a:cubicBezTo>
                  <a:pt x="0" y="193"/>
                  <a:pt x="16" y="245"/>
                  <a:pt x="43" y="290"/>
                </a:cubicBezTo>
                <a:cubicBezTo>
                  <a:pt x="63" y="230"/>
                  <a:pt x="63" y="230"/>
                  <a:pt x="63" y="230"/>
                </a:cubicBezTo>
                <a:lnTo>
                  <a:pt x="125" y="243"/>
                </a:lnTo>
                <a:close/>
              </a:path>
            </a:pathLst>
          </a:custGeom>
          <a:solidFill>
            <a:srgbClr val="C00000"/>
          </a:solidFill>
          <a:ln w="19050">
            <a:solidFill>
              <a:srgbClr val="FFFFFF"/>
            </a:solidFill>
            <a:round/>
            <a:headEnd/>
            <a:tailEnd/>
          </a:ln>
        </p:spPr>
        <p:txBody>
          <a:bodyPr/>
          <a:lstStyle/>
          <a:p>
            <a:endParaRPr lang="en-US"/>
          </a:p>
        </p:txBody>
      </p:sp>
      <p:sp>
        <p:nvSpPr>
          <p:cNvPr id="13" name="Freeform 14">
            <a:extLst>
              <a:ext uri="{FF2B5EF4-FFF2-40B4-BE49-F238E27FC236}">
                <a16:creationId xmlns:a16="http://schemas.microsoft.com/office/drawing/2014/main" id="{09E5DD57-F764-992D-DDA4-D218F67476A4}"/>
              </a:ext>
            </a:extLst>
          </p:cNvPr>
          <p:cNvSpPr>
            <a:spLocks/>
          </p:cNvSpPr>
          <p:nvPr>
            <p:custDataLst>
              <p:tags r:id="rId2"/>
            </p:custDataLst>
          </p:nvPr>
        </p:nvSpPr>
        <p:spPr bwMode="gray">
          <a:xfrm>
            <a:off x="6064250" y="2183105"/>
            <a:ext cx="1485900" cy="1106488"/>
          </a:xfrm>
          <a:custGeom>
            <a:avLst/>
            <a:gdLst/>
            <a:ahLst/>
            <a:cxnLst>
              <a:cxn ang="0">
                <a:pos x="0" y="95"/>
              </a:cxn>
              <a:cxn ang="0">
                <a:pos x="106" y="121"/>
              </a:cxn>
              <a:cxn ang="0">
                <a:pos x="164" y="172"/>
              </a:cxn>
              <a:cxn ang="0">
                <a:pos x="228" y="185"/>
              </a:cxn>
              <a:cxn ang="0">
                <a:pos x="248" y="126"/>
              </a:cxn>
              <a:cxn ang="0">
                <a:pos x="7" y="0"/>
              </a:cxn>
              <a:cxn ang="0">
                <a:pos x="0" y="1"/>
              </a:cxn>
              <a:cxn ang="0">
                <a:pos x="41" y="48"/>
              </a:cxn>
              <a:cxn ang="0">
                <a:pos x="0" y="95"/>
              </a:cxn>
            </a:cxnLst>
            <a:rect l="0" t="0" r="r" b="b"/>
            <a:pathLst>
              <a:path w="248" h="185">
                <a:moveTo>
                  <a:pt x="0" y="95"/>
                </a:moveTo>
                <a:cubicBezTo>
                  <a:pt x="36" y="94"/>
                  <a:pt x="73" y="102"/>
                  <a:pt x="106" y="121"/>
                </a:cubicBezTo>
                <a:cubicBezTo>
                  <a:pt x="130" y="135"/>
                  <a:pt x="149" y="152"/>
                  <a:pt x="164" y="172"/>
                </a:cubicBezTo>
                <a:cubicBezTo>
                  <a:pt x="228" y="185"/>
                  <a:pt x="228" y="185"/>
                  <a:pt x="228" y="185"/>
                </a:cubicBezTo>
                <a:cubicBezTo>
                  <a:pt x="248" y="126"/>
                  <a:pt x="248" y="126"/>
                  <a:pt x="248" y="126"/>
                </a:cubicBezTo>
                <a:cubicBezTo>
                  <a:pt x="195" y="50"/>
                  <a:pt x="107" y="0"/>
                  <a:pt x="7" y="0"/>
                </a:cubicBezTo>
                <a:cubicBezTo>
                  <a:pt x="5" y="0"/>
                  <a:pt x="2" y="1"/>
                  <a:pt x="0" y="1"/>
                </a:cubicBezTo>
                <a:cubicBezTo>
                  <a:pt x="41" y="48"/>
                  <a:pt x="41" y="48"/>
                  <a:pt x="41" y="48"/>
                </a:cubicBezTo>
                <a:lnTo>
                  <a:pt x="0" y="95"/>
                </a:lnTo>
                <a:close/>
              </a:path>
            </a:pathLst>
          </a:custGeom>
          <a:solidFill>
            <a:schemeClr val="accent1">
              <a:lumMod val="60000"/>
              <a:lumOff val="40000"/>
            </a:schemeClr>
          </a:solidFill>
          <a:ln w="19050">
            <a:solidFill>
              <a:srgbClr val="FFFFFF"/>
            </a:solidFill>
            <a:round/>
            <a:headEnd/>
            <a:tailEnd/>
          </a:ln>
        </p:spPr>
        <p:txBody>
          <a:bodyPr/>
          <a:lstStyle/>
          <a:p>
            <a:endParaRPr lang="en-US"/>
          </a:p>
        </p:txBody>
      </p:sp>
      <p:sp>
        <p:nvSpPr>
          <p:cNvPr id="14" name="Freeform 15">
            <a:extLst>
              <a:ext uri="{FF2B5EF4-FFF2-40B4-BE49-F238E27FC236}">
                <a16:creationId xmlns:a16="http://schemas.microsoft.com/office/drawing/2014/main" id="{67B5DF65-8A3D-69AE-C12C-B2354A0A0375}"/>
              </a:ext>
            </a:extLst>
          </p:cNvPr>
          <p:cNvSpPr>
            <a:spLocks/>
          </p:cNvSpPr>
          <p:nvPr>
            <p:custDataLst>
              <p:tags r:id="rId3"/>
            </p:custDataLst>
          </p:nvPr>
        </p:nvSpPr>
        <p:spPr bwMode="gray">
          <a:xfrm>
            <a:off x="4660900" y="4589756"/>
            <a:ext cx="1492250" cy="1101725"/>
          </a:xfrm>
          <a:custGeom>
            <a:avLst/>
            <a:gdLst/>
            <a:ahLst/>
            <a:cxnLst>
              <a:cxn ang="0">
                <a:pos x="249" y="90"/>
              </a:cxn>
              <a:cxn ang="0">
                <a:pos x="142" y="63"/>
              </a:cxn>
              <a:cxn ang="0">
                <a:pos x="84" y="12"/>
              </a:cxn>
              <a:cxn ang="0">
                <a:pos x="20" y="0"/>
              </a:cxn>
              <a:cxn ang="0">
                <a:pos x="0" y="58"/>
              </a:cxn>
              <a:cxn ang="0">
                <a:pos x="241" y="184"/>
              </a:cxn>
              <a:cxn ang="0">
                <a:pos x="248" y="184"/>
              </a:cxn>
              <a:cxn ang="0">
                <a:pos x="207" y="137"/>
              </a:cxn>
              <a:cxn ang="0">
                <a:pos x="249" y="90"/>
              </a:cxn>
            </a:cxnLst>
            <a:rect l="0" t="0" r="r" b="b"/>
            <a:pathLst>
              <a:path w="249" h="184">
                <a:moveTo>
                  <a:pt x="249" y="90"/>
                </a:moveTo>
                <a:cubicBezTo>
                  <a:pt x="213" y="91"/>
                  <a:pt x="176" y="83"/>
                  <a:pt x="142" y="63"/>
                </a:cubicBezTo>
                <a:cubicBezTo>
                  <a:pt x="119" y="50"/>
                  <a:pt x="99" y="32"/>
                  <a:pt x="84" y="12"/>
                </a:cubicBezTo>
                <a:cubicBezTo>
                  <a:pt x="20" y="0"/>
                  <a:pt x="20" y="0"/>
                  <a:pt x="20" y="0"/>
                </a:cubicBezTo>
                <a:cubicBezTo>
                  <a:pt x="0" y="58"/>
                  <a:pt x="0" y="58"/>
                  <a:pt x="0" y="58"/>
                </a:cubicBezTo>
                <a:cubicBezTo>
                  <a:pt x="53" y="134"/>
                  <a:pt x="141" y="184"/>
                  <a:pt x="241" y="184"/>
                </a:cubicBezTo>
                <a:cubicBezTo>
                  <a:pt x="243" y="184"/>
                  <a:pt x="246" y="184"/>
                  <a:pt x="248" y="184"/>
                </a:cubicBezTo>
                <a:cubicBezTo>
                  <a:pt x="207" y="137"/>
                  <a:pt x="207" y="137"/>
                  <a:pt x="207" y="137"/>
                </a:cubicBezTo>
                <a:lnTo>
                  <a:pt x="249" y="90"/>
                </a:lnTo>
                <a:close/>
              </a:path>
            </a:pathLst>
          </a:custGeom>
          <a:solidFill>
            <a:schemeClr val="tx1">
              <a:lumMod val="75000"/>
              <a:lumOff val="25000"/>
            </a:schemeClr>
          </a:solidFill>
          <a:ln w="19050">
            <a:solidFill>
              <a:srgbClr val="FFFFFF"/>
            </a:solidFill>
            <a:round/>
            <a:headEnd/>
            <a:tailEnd/>
          </a:ln>
        </p:spPr>
        <p:txBody>
          <a:bodyPr/>
          <a:lstStyle/>
          <a:p>
            <a:endParaRPr lang="en-US"/>
          </a:p>
        </p:txBody>
      </p:sp>
      <p:sp>
        <p:nvSpPr>
          <p:cNvPr id="15" name="Freeform 16">
            <a:extLst>
              <a:ext uri="{FF2B5EF4-FFF2-40B4-BE49-F238E27FC236}">
                <a16:creationId xmlns:a16="http://schemas.microsoft.com/office/drawing/2014/main" id="{E97D2DF3-569C-9CDE-6C0C-54DBAD6D28F6}"/>
              </a:ext>
            </a:extLst>
          </p:cNvPr>
          <p:cNvSpPr>
            <a:spLocks/>
          </p:cNvSpPr>
          <p:nvPr>
            <p:custDataLst>
              <p:tags r:id="rId4"/>
            </p:custDataLst>
          </p:nvPr>
        </p:nvSpPr>
        <p:spPr bwMode="gray">
          <a:xfrm>
            <a:off x="7113589" y="3022893"/>
            <a:ext cx="746125" cy="1739900"/>
          </a:xfrm>
          <a:custGeom>
            <a:avLst/>
            <a:gdLst/>
            <a:ahLst/>
            <a:cxnLst>
              <a:cxn ang="0">
                <a:pos x="0" y="48"/>
              </a:cxn>
              <a:cxn ang="0">
                <a:pos x="15" y="229"/>
              </a:cxn>
              <a:cxn ang="0">
                <a:pos x="36" y="291"/>
              </a:cxn>
              <a:cxn ang="0">
                <a:pos x="97" y="279"/>
              </a:cxn>
              <a:cxn ang="0">
                <a:pos x="125" y="153"/>
              </a:cxn>
              <a:cxn ang="0">
                <a:pos x="82" y="0"/>
              </a:cxn>
              <a:cxn ang="0">
                <a:pos x="61" y="60"/>
              </a:cxn>
              <a:cxn ang="0">
                <a:pos x="0" y="48"/>
              </a:cxn>
            </a:cxnLst>
            <a:rect l="0" t="0" r="r" b="b"/>
            <a:pathLst>
              <a:path w="125" h="291">
                <a:moveTo>
                  <a:pt x="0" y="48"/>
                </a:moveTo>
                <a:cubicBezTo>
                  <a:pt x="34" y="101"/>
                  <a:pt x="41" y="169"/>
                  <a:pt x="15" y="229"/>
                </a:cubicBezTo>
                <a:cubicBezTo>
                  <a:pt x="36" y="291"/>
                  <a:pt x="36" y="291"/>
                  <a:pt x="36" y="291"/>
                </a:cubicBezTo>
                <a:cubicBezTo>
                  <a:pt x="97" y="279"/>
                  <a:pt x="97" y="279"/>
                  <a:pt x="97" y="279"/>
                </a:cubicBezTo>
                <a:cubicBezTo>
                  <a:pt x="115" y="241"/>
                  <a:pt x="125" y="198"/>
                  <a:pt x="125" y="153"/>
                </a:cubicBezTo>
                <a:cubicBezTo>
                  <a:pt x="125" y="97"/>
                  <a:pt x="109" y="45"/>
                  <a:pt x="82" y="0"/>
                </a:cubicBezTo>
                <a:cubicBezTo>
                  <a:pt x="61" y="60"/>
                  <a:pt x="61" y="60"/>
                  <a:pt x="61" y="60"/>
                </a:cubicBezTo>
                <a:lnTo>
                  <a:pt x="0" y="48"/>
                </a:lnTo>
                <a:close/>
              </a:path>
            </a:pathLst>
          </a:custGeom>
          <a:solidFill>
            <a:schemeClr val="accent1">
              <a:lumMod val="40000"/>
              <a:lumOff val="60000"/>
            </a:schemeClr>
          </a:solidFill>
          <a:ln w="19050">
            <a:solidFill>
              <a:srgbClr val="FFFFFF"/>
            </a:solidFill>
            <a:round/>
            <a:headEnd/>
            <a:tailEnd/>
          </a:ln>
        </p:spPr>
        <p:txBody>
          <a:bodyPr/>
          <a:lstStyle/>
          <a:p>
            <a:endParaRPr lang="en-US"/>
          </a:p>
        </p:txBody>
      </p:sp>
      <p:sp>
        <p:nvSpPr>
          <p:cNvPr id="16" name="Freeform 17">
            <a:extLst>
              <a:ext uri="{FF2B5EF4-FFF2-40B4-BE49-F238E27FC236}">
                <a16:creationId xmlns:a16="http://schemas.microsoft.com/office/drawing/2014/main" id="{5D61CF11-A973-310E-9A76-8060541451CB}"/>
              </a:ext>
            </a:extLst>
          </p:cNvPr>
          <p:cNvSpPr>
            <a:spLocks/>
          </p:cNvSpPr>
          <p:nvPr>
            <p:custDataLst>
              <p:tags r:id="rId5"/>
            </p:custDataLst>
          </p:nvPr>
        </p:nvSpPr>
        <p:spPr bwMode="gray">
          <a:xfrm>
            <a:off x="6002339" y="4492919"/>
            <a:ext cx="1641475" cy="1190625"/>
          </a:xfrm>
          <a:custGeom>
            <a:avLst/>
            <a:gdLst/>
            <a:ahLst/>
            <a:cxnLst>
              <a:cxn ang="0">
                <a:pos x="192" y="0"/>
              </a:cxn>
              <a:cxn ang="0">
                <a:pos x="189" y="6"/>
              </a:cxn>
              <a:cxn ang="0">
                <a:pos x="44" y="104"/>
              </a:cxn>
              <a:cxn ang="0">
                <a:pos x="0" y="153"/>
              </a:cxn>
              <a:cxn ang="0">
                <a:pos x="41" y="199"/>
              </a:cxn>
              <a:cxn ang="0">
                <a:pos x="274" y="48"/>
              </a:cxn>
              <a:cxn ang="0">
                <a:pos x="213" y="60"/>
              </a:cxn>
              <a:cxn ang="0">
                <a:pos x="192" y="0"/>
              </a:cxn>
            </a:cxnLst>
            <a:rect l="0" t="0" r="r" b="b"/>
            <a:pathLst>
              <a:path w="274" h="199">
                <a:moveTo>
                  <a:pt x="192" y="0"/>
                </a:moveTo>
                <a:cubicBezTo>
                  <a:pt x="191" y="2"/>
                  <a:pt x="190" y="4"/>
                  <a:pt x="189" y="6"/>
                </a:cubicBezTo>
                <a:cubicBezTo>
                  <a:pt x="157" y="62"/>
                  <a:pt x="102" y="96"/>
                  <a:pt x="44" y="104"/>
                </a:cubicBezTo>
                <a:cubicBezTo>
                  <a:pt x="0" y="153"/>
                  <a:pt x="0" y="153"/>
                  <a:pt x="0" y="153"/>
                </a:cubicBezTo>
                <a:cubicBezTo>
                  <a:pt x="41" y="199"/>
                  <a:pt x="41" y="199"/>
                  <a:pt x="41" y="199"/>
                </a:cubicBezTo>
                <a:cubicBezTo>
                  <a:pt x="142" y="191"/>
                  <a:pt x="228" y="132"/>
                  <a:pt x="274" y="48"/>
                </a:cubicBezTo>
                <a:cubicBezTo>
                  <a:pt x="213" y="60"/>
                  <a:pt x="213" y="60"/>
                  <a:pt x="213" y="60"/>
                </a:cubicBezTo>
                <a:lnTo>
                  <a:pt x="192" y="0"/>
                </a:lnTo>
                <a:close/>
              </a:path>
            </a:pathLst>
          </a:custGeom>
          <a:solidFill>
            <a:schemeClr val="tx1">
              <a:lumMod val="85000"/>
              <a:lumOff val="15000"/>
            </a:schemeClr>
          </a:solidFill>
          <a:ln w="19050">
            <a:solidFill>
              <a:srgbClr val="FFFFFF"/>
            </a:solidFill>
            <a:round/>
            <a:headEnd/>
            <a:tailEnd/>
          </a:ln>
        </p:spPr>
        <p:txBody>
          <a:bodyPr/>
          <a:lstStyle/>
          <a:p>
            <a:endParaRPr lang="en-US"/>
          </a:p>
        </p:txBody>
      </p:sp>
      <p:sp>
        <p:nvSpPr>
          <p:cNvPr id="17" name="Freeform 18">
            <a:extLst>
              <a:ext uri="{FF2B5EF4-FFF2-40B4-BE49-F238E27FC236}">
                <a16:creationId xmlns:a16="http://schemas.microsoft.com/office/drawing/2014/main" id="{3785114E-16BB-0F0F-FE1A-1532B3AFEECD}"/>
              </a:ext>
            </a:extLst>
          </p:cNvPr>
          <p:cNvSpPr>
            <a:spLocks/>
          </p:cNvSpPr>
          <p:nvPr>
            <p:custDataLst>
              <p:tags r:id="rId6"/>
            </p:custDataLst>
          </p:nvPr>
        </p:nvSpPr>
        <p:spPr bwMode="gray">
          <a:xfrm>
            <a:off x="4567239" y="2191044"/>
            <a:ext cx="1641475" cy="1190625"/>
          </a:xfrm>
          <a:custGeom>
            <a:avLst/>
            <a:gdLst/>
            <a:ahLst/>
            <a:cxnLst>
              <a:cxn ang="0">
                <a:pos x="82" y="199"/>
              </a:cxn>
              <a:cxn ang="0">
                <a:pos x="85" y="193"/>
              </a:cxn>
              <a:cxn ang="0">
                <a:pos x="231" y="96"/>
              </a:cxn>
              <a:cxn ang="0">
                <a:pos x="274" y="47"/>
              </a:cxn>
              <a:cxn ang="0">
                <a:pos x="233" y="0"/>
              </a:cxn>
              <a:cxn ang="0">
                <a:pos x="0" y="152"/>
              </a:cxn>
              <a:cxn ang="0">
                <a:pos x="62" y="139"/>
              </a:cxn>
              <a:cxn ang="0">
                <a:pos x="82" y="199"/>
              </a:cxn>
            </a:cxnLst>
            <a:rect l="0" t="0" r="r" b="b"/>
            <a:pathLst>
              <a:path w="274" h="199">
                <a:moveTo>
                  <a:pt x="82" y="199"/>
                </a:moveTo>
                <a:cubicBezTo>
                  <a:pt x="83" y="197"/>
                  <a:pt x="84" y="195"/>
                  <a:pt x="85" y="193"/>
                </a:cubicBezTo>
                <a:cubicBezTo>
                  <a:pt x="117" y="138"/>
                  <a:pt x="172" y="103"/>
                  <a:pt x="231" y="96"/>
                </a:cubicBezTo>
                <a:cubicBezTo>
                  <a:pt x="274" y="47"/>
                  <a:pt x="274" y="47"/>
                  <a:pt x="274" y="47"/>
                </a:cubicBezTo>
                <a:cubicBezTo>
                  <a:pt x="233" y="0"/>
                  <a:pt x="233" y="0"/>
                  <a:pt x="233" y="0"/>
                </a:cubicBezTo>
                <a:cubicBezTo>
                  <a:pt x="133" y="9"/>
                  <a:pt x="46" y="68"/>
                  <a:pt x="0" y="152"/>
                </a:cubicBezTo>
                <a:cubicBezTo>
                  <a:pt x="62" y="139"/>
                  <a:pt x="62" y="139"/>
                  <a:pt x="62" y="139"/>
                </a:cubicBezTo>
                <a:lnTo>
                  <a:pt x="82" y="199"/>
                </a:lnTo>
                <a:close/>
              </a:path>
            </a:pathLst>
          </a:custGeom>
          <a:solidFill>
            <a:schemeClr val="accent1">
              <a:lumMod val="75000"/>
            </a:schemeClr>
          </a:solidFill>
          <a:ln w="19050">
            <a:solidFill>
              <a:srgbClr val="FFFFFF"/>
            </a:solidFill>
            <a:round/>
            <a:headEnd/>
            <a:tailEnd/>
          </a:ln>
        </p:spPr>
        <p:txBody>
          <a:bodyPr/>
          <a:lstStyle/>
          <a:p>
            <a:endParaRPr lang="en-US"/>
          </a:p>
        </p:txBody>
      </p:sp>
      <p:sp>
        <p:nvSpPr>
          <p:cNvPr id="18" name="Text Box 20">
            <a:extLst>
              <a:ext uri="{FF2B5EF4-FFF2-40B4-BE49-F238E27FC236}">
                <a16:creationId xmlns:a16="http://schemas.microsoft.com/office/drawing/2014/main" id="{A6A7F42F-79CA-17A8-8E8C-C8638D7F5254}"/>
              </a:ext>
            </a:extLst>
          </p:cNvPr>
          <p:cNvSpPr txBox="1">
            <a:spLocks noChangeArrowheads="1"/>
          </p:cNvSpPr>
          <p:nvPr/>
        </p:nvSpPr>
        <p:spPr bwMode="gray">
          <a:xfrm>
            <a:off x="1905000" y="3695115"/>
            <a:ext cx="2362200" cy="646331"/>
          </a:xfrm>
          <a:prstGeom prst="rect">
            <a:avLst/>
          </a:prstGeom>
          <a:noFill/>
          <a:ln w="9525">
            <a:noFill/>
            <a:miter lim="800000"/>
            <a:headEnd/>
            <a:tailEnd/>
          </a:ln>
        </p:spPr>
        <p:txBody>
          <a:bodyPr wrap="square" anchor="ctr" anchorCtr="0">
            <a:spAutoFit/>
          </a:bodyPr>
          <a:lstStyle/>
          <a:p>
            <a:pPr defTabSz="801688">
              <a:spcBef>
                <a:spcPct val="20000"/>
              </a:spcBef>
            </a:pPr>
            <a:r>
              <a:rPr lang="en-US" sz="1200" b="1" dirty="0">
                <a:solidFill>
                  <a:srgbClr val="080808"/>
                </a:solidFill>
                <a:cs typeface="Arial" charset="0"/>
              </a:rPr>
              <a:t>6. </a:t>
            </a:r>
            <a:r>
              <a:rPr lang="en-US" sz="1200" dirty="0">
                <a:solidFill>
                  <a:srgbClr val="080808"/>
                </a:solidFill>
                <a:cs typeface="Arial" charset="0"/>
              </a:rPr>
              <a:t>Management review and update of environmental management plans</a:t>
            </a:r>
          </a:p>
        </p:txBody>
      </p:sp>
      <p:sp>
        <p:nvSpPr>
          <p:cNvPr id="19" name="Text Box 22">
            <a:extLst>
              <a:ext uri="{FF2B5EF4-FFF2-40B4-BE49-F238E27FC236}">
                <a16:creationId xmlns:a16="http://schemas.microsoft.com/office/drawing/2014/main" id="{741103B9-58D4-0E0B-058D-7D1F7C5C6059}"/>
              </a:ext>
            </a:extLst>
          </p:cNvPr>
          <p:cNvSpPr txBox="1">
            <a:spLocks noChangeArrowheads="1"/>
          </p:cNvSpPr>
          <p:nvPr/>
        </p:nvSpPr>
        <p:spPr bwMode="gray">
          <a:xfrm>
            <a:off x="1905000" y="5007541"/>
            <a:ext cx="2851150" cy="276999"/>
          </a:xfrm>
          <a:prstGeom prst="rect">
            <a:avLst/>
          </a:prstGeom>
          <a:noFill/>
          <a:ln w="9525">
            <a:noFill/>
            <a:miter lim="800000"/>
            <a:headEnd/>
            <a:tailEnd/>
          </a:ln>
        </p:spPr>
        <p:txBody>
          <a:bodyPr anchor="ctr" anchorCtr="0">
            <a:spAutoFit/>
          </a:bodyPr>
          <a:lstStyle/>
          <a:p>
            <a:pPr defTabSz="801688">
              <a:spcBef>
                <a:spcPct val="20000"/>
              </a:spcBef>
            </a:pPr>
            <a:r>
              <a:rPr lang="en-US" sz="1200" b="1" dirty="0">
                <a:solidFill>
                  <a:srgbClr val="080808"/>
                </a:solidFill>
                <a:cs typeface="Arial" charset="0"/>
              </a:rPr>
              <a:t>5. </a:t>
            </a:r>
            <a:r>
              <a:rPr lang="en-US" sz="1200" dirty="0">
                <a:solidFill>
                  <a:srgbClr val="080808"/>
                </a:solidFill>
                <a:cs typeface="Arial" charset="0"/>
              </a:rPr>
              <a:t>Conducting the internal audits</a:t>
            </a:r>
          </a:p>
        </p:txBody>
      </p:sp>
      <p:grpSp>
        <p:nvGrpSpPr>
          <p:cNvPr id="20" name="Group 23">
            <a:extLst>
              <a:ext uri="{FF2B5EF4-FFF2-40B4-BE49-F238E27FC236}">
                <a16:creationId xmlns:a16="http://schemas.microsoft.com/office/drawing/2014/main" id="{FE19476C-862D-F13C-4FAF-E15E8E89707C}"/>
              </a:ext>
            </a:extLst>
          </p:cNvPr>
          <p:cNvGrpSpPr>
            <a:grpSpLocks/>
          </p:cNvGrpSpPr>
          <p:nvPr/>
        </p:nvGrpSpPr>
        <p:grpSpPr bwMode="auto">
          <a:xfrm>
            <a:off x="5141913" y="2976856"/>
            <a:ext cx="1917700" cy="1914525"/>
            <a:chOff x="2342" y="1777"/>
            <a:chExt cx="1082" cy="1080"/>
          </a:xfrm>
        </p:grpSpPr>
        <p:sp>
          <p:nvSpPr>
            <p:cNvPr id="26" name="Oval 5">
              <a:extLst>
                <a:ext uri="{FF2B5EF4-FFF2-40B4-BE49-F238E27FC236}">
                  <a16:creationId xmlns:a16="http://schemas.microsoft.com/office/drawing/2014/main" id="{5307F64C-E111-EC0A-FBBB-BB9A268C23A7}"/>
                </a:ext>
              </a:extLst>
            </p:cNvPr>
            <p:cNvSpPr>
              <a:spLocks noChangeArrowheads="1"/>
            </p:cNvSpPr>
            <p:nvPr/>
          </p:nvSpPr>
          <p:spPr bwMode="gray">
            <a:xfrm>
              <a:off x="2342" y="1777"/>
              <a:ext cx="1082" cy="1080"/>
            </a:xfrm>
            <a:prstGeom prst="ellipse">
              <a:avLst/>
            </a:prstGeom>
            <a:solidFill>
              <a:srgbClr val="CA2026"/>
            </a:solidFill>
            <a:ln w="19050">
              <a:solidFill>
                <a:srgbClr val="FFFFFF"/>
              </a:solidFill>
              <a:round/>
              <a:headEnd/>
              <a:tailEnd/>
            </a:ln>
          </p:spPr>
          <p:txBody>
            <a:bodyPr wrap="none" lIns="90000" tIns="90000" rIns="72000" bIns="90000" anchor="ctr"/>
            <a:lstStyle/>
            <a:p>
              <a:endParaRPr lang="fr-FR" noProof="1"/>
            </a:p>
          </p:txBody>
        </p:sp>
        <p:sp>
          <p:nvSpPr>
            <p:cNvPr id="27" name="Freeform 6">
              <a:extLst>
                <a:ext uri="{FF2B5EF4-FFF2-40B4-BE49-F238E27FC236}">
                  <a16:creationId xmlns:a16="http://schemas.microsoft.com/office/drawing/2014/main" id="{5571DB8A-1476-1D00-1C70-4F89ECCB61BE}"/>
                </a:ext>
              </a:extLst>
            </p:cNvPr>
            <p:cNvSpPr>
              <a:spLocks/>
            </p:cNvSpPr>
            <p:nvPr/>
          </p:nvSpPr>
          <p:spPr bwMode="gray">
            <a:xfrm>
              <a:off x="2356" y="2249"/>
              <a:ext cx="1055" cy="597"/>
            </a:xfrm>
            <a:custGeom>
              <a:avLst/>
              <a:gdLst>
                <a:gd name="T0" fmla="*/ 2147483647 w 412"/>
                <a:gd name="T1" fmla="*/ 2147483647 h 234"/>
                <a:gd name="T2" fmla="*/ 27018714 w 412"/>
                <a:gd name="T3" fmla="*/ 0 h 234"/>
                <a:gd name="T4" fmla="*/ 0 w 412"/>
                <a:gd name="T5" fmla="*/ 727246090 h 234"/>
                <a:gd name="T6" fmla="*/ 2147483647 w 412"/>
                <a:gd name="T7" fmla="*/ 2147483647 h 234"/>
                <a:gd name="T8" fmla="*/ 2147483647 w 412"/>
                <a:gd name="T9" fmla="*/ 727246090 h 234"/>
                <a:gd name="T10" fmla="*/ 2147483647 w 412"/>
                <a:gd name="T11" fmla="*/ 0 h 234"/>
                <a:gd name="T12" fmla="*/ 2147483647 w 412"/>
                <a:gd name="T13" fmla="*/ 2147483647 h 234"/>
                <a:gd name="T14" fmla="*/ 0 60000 65536"/>
                <a:gd name="T15" fmla="*/ 0 60000 65536"/>
                <a:gd name="T16" fmla="*/ 0 60000 65536"/>
                <a:gd name="T17" fmla="*/ 0 60000 65536"/>
                <a:gd name="T18" fmla="*/ 0 60000 65536"/>
                <a:gd name="T19" fmla="*/ 0 60000 65536"/>
                <a:gd name="T20" fmla="*/ 0 60000 65536"/>
                <a:gd name="T21" fmla="*/ 0 w 412"/>
                <a:gd name="T22" fmla="*/ 0 h 234"/>
                <a:gd name="T23" fmla="*/ 412 w 412"/>
                <a:gd name="T24" fmla="*/ 234 h 2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2" h="234">
                  <a:moveTo>
                    <a:pt x="206" y="179"/>
                  </a:moveTo>
                  <a:cubicBezTo>
                    <a:pt x="101" y="179"/>
                    <a:pt x="15" y="101"/>
                    <a:pt x="1" y="0"/>
                  </a:cubicBezTo>
                  <a:cubicBezTo>
                    <a:pt x="0" y="9"/>
                    <a:pt x="0" y="18"/>
                    <a:pt x="0" y="27"/>
                  </a:cubicBezTo>
                  <a:cubicBezTo>
                    <a:pt x="0" y="141"/>
                    <a:pt x="92" y="234"/>
                    <a:pt x="206" y="234"/>
                  </a:cubicBezTo>
                  <a:cubicBezTo>
                    <a:pt x="320" y="234"/>
                    <a:pt x="412" y="141"/>
                    <a:pt x="412" y="27"/>
                  </a:cubicBezTo>
                  <a:cubicBezTo>
                    <a:pt x="412" y="18"/>
                    <a:pt x="411" y="9"/>
                    <a:pt x="410" y="0"/>
                  </a:cubicBezTo>
                  <a:close/>
                </a:path>
              </a:pathLst>
            </a:custGeom>
            <a:solidFill>
              <a:srgbClr val="C00000"/>
            </a:solidFill>
            <a:ln w="9525">
              <a:noFill/>
              <a:round/>
              <a:headEnd/>
              <a:tailEnd/>
            </a:ln>
          </p:spPr>
          <p:txBody>
            <a:bodyPr/>
            <a:lstStyle/>
            <a:p>
              <a:endParaRPr lang="fr-FR" noProof="1"/>
            </a:p>
          </p:txBody>
        </p:sp>
      </p:grpSp>
      <p:sp>
        <p:nvSpPr>
          <p:cNvPr id="21" name="Rectangle 27">
            <a:extLst>
              <a:ext uri="{FF2B5EF4-FFF2-40B4-BE49-F238E27FC236}">
                <a16:creationId xmlns:a16="http://schemas.microsoft.com/office/drawing/2014/main" id="{45BA8270-C7B5-52DB-2AF0-7BB21702EE33}"/>
              </a:ext>
            </a:extLst>
          </p:cNvPr>
          <p:cNvSpPr>
            <a:spLocks noChangeArrowheads="1"/>
          </p:cNvSpPr>
          <p:nvPr/>
        </p:nvSpPr>
        <p:spPr bwMode="auto">
          <a:xfrm>
            <a:off x="5267325" y="3450474"/>
            <a:ext cx="1657350" cy="923330"/>
          </a:xfrm>
          <a:prstGeom prst="rect">
            <a:avLst/>
          </a:prstGeom>
          <a:solidFill>
            <a:schemeClr val="tx1">
              <a:lumMod val="85000"/>
              <a:lumOff val="15000"/>
              <a:alpha val="0"/>
            </a:schemeClr>
          </a:solidFill>
          <a:ln w="9525">
            <a:noFill/>
            <a:miter lim="800000"/>
            <a:headEnd/>
            <a:tailEnd/>
          </a:ln>
          <a:effectLst/>
        </p:spPr>
        <p:txBody>
          <a:bodyPr>
            <a:spAutoFit/>
          </a:bodyPr>
          <a:lstStyle/>
          <a:p>
            <a:pPr algn="ctr"/>
            <a:r>
              <a:rPr lang="en-US" b="1" dirty="0">
                <a:solidFill>
                  <a:schemeClr val="bg1"/>
                </a:solidFill>
              </a:rPr>
              <a:t>SEMS Monitoring and Review</a:t>
            </a:r>
          </a:p>
        </p:txBody>
      </p:sp>
      <p:sp>
        <p:nvSpPr>
          <p:cNvPr id="22" name="Line 51">
            <a:extLst>
              <a:ext uri="{FF2B5EF4-FFF2-40B4-BE49-F238E27FC236}">
                <a16:creationId xmlns:a16="http://schemas.microsoft.com/office/drawing/2014/main" id="{F55BB1A3-8256-177D-A773-98FD8917D7BD}"/>
              </a:ext>
            </a:extLst>
          </p:cNvPr>
          <p:cNvSpPr>
            <a:spLocks noChangeShapeType="1"/>
          </p:cNvSpPr>
          <p:nvPr/>
        </p:nvSpPr>
        <p:spPr bwMode="gray">
          <a:xfrm>
            <a:off x="1828800" y="3164840"/>
            <a:ext cx="2475760" cy="0"/>
          </a:xfrm>
          <a:prstGeom prst="line">
            <a:avLst/>
          </a:prstGeom>
          <a:noFill/>
          <a:ln w="19050">
            <a:solidFill>
              <a:srgbClr val="868282"/>
            </a:solidFill>
            <a:prstDash val="sysDot"/>
            <a:round/>
            <a:headEnd/>
            <a:tailEnd/>
          </a:ln>
        </p:spPr>
        <p:txBody>
          <a:bodyPr/>
          <a:lstStyle/>
          <a:p>
            <a:endParaRPr lang="en-US"/>
          </a:p>
        </p:txBody>
      </p:sp>
      <p:sp>
        <p:nvSpPr>
          <p:cNvPr id="23" name="Line 51">
            <a:extLst>
              <a:ext uri="{FF2B5EF4-FFF2-40B4-BE49-F238E27FC236}">
                <a16:creationId xmlns:a16="http://schemas.microsoft.com/office/drawing/2014/main" id="{EDF0684A-3D06-2285-7EDE-9AD6B5BABEE3}"/>
              </a:ext>
            </a:extLst>
          </p:cNvPr>
          <p:cNvSpPr>
            <a:spLocks noChangeShapeType="1"/>
          </p:cNvSpPr>
          <p:nvPr/>
        </p:nvSpPr>
        <p:spPr bwMode="gray">
          <a:xfrm>
            <a:off x="7963640" y="3164840"/>
            <a:ext cx="2475760" cy="0"/>
          </a:xfrm>
          <a:prstGeom prst="line">
            <a:avLst/>
          </a:prstGeom>
          <a:noFill/>
          <a:ln w="19050">
            <a:solidFill>
              <a:srgbClr val="868282"/>
            </a:solidFill>
            <a:prstDash val="sysDot"/>
            <a:round/>
            <a:headEnd/>
            <a:tailEnd/>
          </a:ln>
        </p:spPr>
        <p:txBody>
          <a:bodyPr/>
          <a:lstStyle/>
          <a:p>
            <a:endParaRPr lang="en-US"/>
          </a:p>
        </p:txBody>
      </p:sp>
      <p:sp>
        <p:nvSpPr>
          <p:cNvPr id="24" name="Line 50">
            <a:extLst>
              <a:ext uri="{FF2B5EF4-FFF2-40B4-BE49-F238E27FC236}">
                <a16:creationId xmlns:a16="http://schemas.microsoft.com/office/drawing/2014/main" id="{E32D6A6C-D49A-3B2A-AB9E-2FB4BFBBE4C7}"/>
              </a:ext>
            </a:extLst>
          </p:cNvPr>
          <p:cNvSpPr>
            <a:spLocks noChangeShapeType="1"/>
          </p:cNvSpPr>
          <p:nvPr/>
        </p:nvSpPr>
        <p:spPr bwMode="gray">
          <a:xfrm>
            <a:off x="1905000" y="4810760"/>
            <a:ext cx="2667000" cy="0"/>
          </a:xfrm>
          <a:prstGeom prst="line">
            <a:avLst/>
          </a:prstGeom>
          <a:noFill/>
          <a:ln w="19050">
            <a:solidFill>
              <a:srgbClr val="868282"/>
            </a:solidFill>
            <a:prstDash val="sysDot"/>
            <a:round/>
            <a:headEnd/>
            <a:tailEnd/>
          </a:ln>
        </p:spPr>
        <p:txBody>
          <a:bodyPr/>
          <a:lstStyle/>
          <a:p>
            <a:endParaRPr lang="en-US"/>
          </a:p>
        </p:txBody>
      </p:sp>
      <p:sp>
        <p:nvSpPr>
          <p:cNvPr id="25" name="Line 50">
            <a:extLst>
              <a:ext uri="{FF2B5EF4-FFF2-40B4-BE49-F238E27FC236}">
                <a16:creationId xmlns:a16="http://schemas.microsoft.com/office/drawing/2014/main" id="{C50992DD-047D-26FD-8F93-C0D40AA72F23}"/>
              </a:ext>
            </a:extLst>
          </p:cNvPr>
          <p:cNvSpPr>
            <a:spLocks noChangeShapeType="1"/>
          </p:cNvSpPr>
          <p:nvPr/>
        </p:nvSpPr>
        <p:spPr bwMode="gray">
          <a:xfrm>
            <a:off x="7772400" y="4810760"/>
            <a:ext cx="2667000" cy="0"/>
          </a:xfrm>
          <a:prstGeom prst="line">
            <a:avLst/>
          </a:prstGeom>
          <a:noFill/>
          <a:ln w="19050">
            <a:solidFill>
              <a:srgbClr val="868282"/>
            </a:solidFill>
            <a:prstDash val="sysDot"/>
            <a:round/>
            <a:headEnd/>
            <a:tailEnd/>
          </a:ln>
        </p:spPr>
        <p:txBody>
          <a:bodyPr/>
          <a:lstStyle/>
          <a:p>
            <a:endParaRPr lang="en-US"/>
          </a:p>
        </p:txBody>
      </p:sp>
      <p:sp>
        <p:nvSpPr>
          <p:cNvPr id="29" name="TextBox 28">
            <a:extLst>
              <a:ext uri="{FF2B5EF4-FFF2-40B4-BE49-F238E27FC236}">
                <a16:creationId xmlns:a16="http://schemas.microsoft.com/office/drawing/2014/main" id="{504A128C-7E97-AC44-8012-C14FCF833E4B}"/>
              </a:ext>
            </a:extLst>
          </p:cNvPr>
          <p:cNvSpPr txBox="1"/>
          <p:nvPr/>
        </p:nvSpPr>
        <p:spPr>
          <a:xfrm>
            <a:off x="849205" y="929080"/>
            <a:ext cx="8960620" cy="584775"/>
          </a:xfrm>
          <a:prstGeom prst="rect">
            <a:avLst/>
          </a:prstGeom>
          <a:noFill/>
        </p:spPr>
        <p:txBody>
          <a:bodyPr wrap="square">
            <a:spAutoFit/>
          </a:bodyPr>
          <a:lstStyle/>
          <a:p>
            <a:r>
              <a:rPr lang="en-US" sz="3200" b="1" dirty="0">
                <a:solidFill>
                  <a:srgbClr val="801619"/>
                </a:solidFill>
              </a:rPr>
              <a:t>EMS Monitoring and Review</a:t>
            </a:r>
          </a:p>
        </p:txBody>
      </p:sp>
    </p:spTree>
    <p:extLst>
      <p:ext uri="{BB962C8B-B14F-4D97-AF65-F5344CB8AC3E}">
        <p14:creationId xmlns:p14="http://schemas.microsoft.com/office/powerpoint/2010/main" val="3510692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500"/>
                                        <p:tgtEl>
                                          <p:spTgt spid="10"/>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wipe(down)">
                                      <p:cBhvr>
                                        <p:cTn id="13" dur="500"/>
                                        <p:tgtEl>
                                          <p:spTgt spid="2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wipe(down)">
                                      <p:cBhvr>
                                        <p:cTn id="16" dur="500"/>
                                        <p:tgtEl>
                                          <p:spTgt spid="1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down)">
                                      <p:cBhvr>
                                        <p:cTn id="19" dur="500"/>
                                        <p:tgtEl>
                                          <p:spTgt spid="24"/>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down)">
                                      <p:cBhvr>
                                        <p:cTn id="22" dur="500"/>
                                        <p:tgtEl>
                                          <p:spTgt spid="19"/>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ipe(down)">
                                      <p:cBhvr>
                                        <p:cTn id="25" dur="500"/>
                                        <p:tgtEl>
                                          <p:spTgt spid="6"/>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down)">
                                      <p:cBhvr>
                                        <p:cTn id="28" dur="500"/>
                                        <p:tgtEl>
                                          <p:spTgt spid="8"/>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wipe(down)">
                                      <p:cBhvr>
                                        <p:cTn id="31" dur="500"/>
                                        <p:tgtEl>
                                          <p:spTgt spid="23"/>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wipe(down)">
                                      <p:cBhvr>
                                        <p:cTn id="34" dur="500"/>
                                        <p:tgtEl>
                                          <p:spTgt spid="11"/>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wipe(down)">
                                      <p:cBhvr>
                                        <p:cTn id="37" dur="500"/>
                                        <p:tgtEl>
                                          <p:spTgt spid="9"/>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wipe(down)">
                                      <p:cBhvr>
                                        <p:cTn id="40" dur="500"/>
                                        <p:tgtEl>
                                          <p:spTgt spid="25"/>
                                        </p:tgtEl>
                                      </p:cBhvr>
                                    </p:animEffect>
                                  </p:childTnLst>
                                </p:cTn>
                              </p:par>
                              <p:par>
                                <p:cTn id="41" presetID="22" presetClass="entr" presetSubtype="4"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down)">
                                      <p:cBhvr>
                                        <p:cTn id="43" dur="500"/>
                                        <p:tgtEl>
                                          <p:spTgt spid="13"/>
                                        </p:tgtEl>
                                      </p:cBhvr>
                                    </p:animEffect>
                                  </p:childTnLst>
                                </p:cTn>
                              </p:par>
                              <p:par>
                                <p:cTn id="44" presetID="22" presetClass="entr" presetSubtype="4"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wipe(down)">
                                      <p:cBhvr>
                                        <p:cTn id="46" dur="500"/>
                                        <p:tgtEl>
                                          <p:spTgt spid="15"/>
                                        </p:tgtEl>
                                      </p:cBhvr>
                                    </p:animEffect>
                                  </p:childTnLst>
                                </p:cTn>
                              </p:par>
                              <p:par>
                                <p:cTn id="47" presetID="22" presetClass="entr" presetSubtype="4"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wipe(down)">
                                      <p:cBhvr>
                                        <p:cTn id="49" dur="500"/>
                                        <p:tgtEl>
                                          <p:spTgt spid="16"/>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wipe(down)">
                                      <p:cBhvr>
                                        <p:cTn id="52" dur="500"/>
                                        <p:tgtEl>
                                          <p:spTgt spid="14"/>
                                        </p:tgtEl>
                                      </p:cBhvr>
                                    </p:animEffect>
                                  </p:childTnLst>
                                </p:cTn>
                              </p:par>
                              <p:par>
                                <p:cTn id="53" presetID="22" presetClass="entr" presetSubtype="4"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4"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wipe(down)">
                                      <p:cBhvr>
                                        <p:cTn id="58" dur="500"/>
                                        <p:tgtEl>
                                          <p:spTgt spid="17"/>
                                        </p:tgtEl>
                                      </p:cBhvr>
                                    </p:animEffect>
                                  </p:childTnLst>
                                </p:cTn>
                              </p:par>
                              <p:par>
                                <p:cTn id="59" presetID="22" presetClass="entr" presetSubtype="4" fill="hold" grpId="0" nodeType="with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wipe(down)">
                                      <p:cBhvr>
                                        <p:cTn id="61" dur="500"/>
                                        <p:tgtEl>
                                          <p:spTgt spid="21"/>
                                        </p:tgtEl>
                                      </p:cBhvr>
                                    </p:animEffect>
                                  </p:childTnLst>
                                </p:cTn>
                              </p:par>
                              <p:par>
                                <p:cTn id="62" presetID="22" presetClass="entr" presetSubtype="4" fill="hold"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down)">
                                      <p:cBhvr>
                                        <p:cTn id="64" dur="500"/>
                                        <p:tgtEl>
                                          <p:spTgt spid="20"/>
                                        </p:tgtEl>
                                      </p:cBhvr>
                                    </p:animEffect>
                                  </p:childTnLst>
                                </p:cTn>
                              </p:par>
                              <p:par>
                                <p:cTn id="65" presetID="22" presetClass="entr" presetSubtype="4" fill="hold" nodeType="withEffect">
                                  <p:stCondLst>
                                    <p:cond delay="0"/>
                                  </p:stCondLst>
                                  <p:childTnLst>
                                    <p:set>
                                      <p:cBhvr>
                                        <p:cTn id="66" dur="1" fill="hold">
                                          <p:stCondLst>
                                            <p:cond delay="0"/>
                                          </p:stCondLst>
                                        </p:cTn>
                                        <p:tgtEl>
                                          <p:spTgt spid="4"/>
                                        </p:tgtEl>
                                        <p:attrNameLst>
                                          <p:attrName>style.visibility</p:attrName>
                                        </p:attrNameLst>
                                      </p:cBhvr>
                                      <p:to>
                                        <p:strVal val="visible"/>
                                      </p:to>
                                    </p:set>
                                    <p:animEffect transition="in" filter="wipe(down)">
                                      <p:cBhvr>
                                        <p:cTn id="67" dur="500"/>
                                        <p:tgtEl>
                                          <p:spTgt spid="4"/>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wipe(down)">
                                      <p:cBhvr>
                                        <p:cTn id="7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P spid="10" grpId="0"/>
      <p:bldP spid="11" grpId="0"/>
      <p:bldP spid="12" grpId="0" animBg="1"/>
      <p:bldP spid="13" grpId="0" animBg="1"/>
      <p:bldP spid="14" grpId="0" animBg="1"/>
      <p:bldP spid="15" grpId="0" animBg="1"/>
      <p:bldP spid="16" grpId="0" animBg="1"/>
      <p:bldP spid="17" grpId="0" animBg="1"/>
      <p:bldP spid="18" grpId="0"/>
      <p:bldP spid="19" grpId="0"/>
      <p:bldP spid="21" grpId="0" animBg="1"/>
      <p:bldP spid="22" grpId="0" animBg="1"/>
      <p:bldP spid="23" grpId="0" animBg="1"/>
      <p:bldP spid="24" grpId="0" animBg="1"/>
      <p:bldP spid="25" grpId="0" animBg="1"/>
      <p:bldP spid="2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46BA76B-A1B1-97F2-8903-9F974E90B8ED}"/>
              </a:ext>
            </a:extLst>
          </p:cNvPr>
          <p:cNvSpPr/>
          <p:nvPr/>
        </p:nvSpPr>
        <p:spPr>
          <a:xfrm>
            <a:off x="0" y="0"/>
            <a:ext cx="2659309"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6">
            <a:extLst>
              <a:ext uri="{FF2B5EF4-FFF2-40B4-BE49-F238E27FC236}">
                <a16:creationId xmlns:a16="http://schemas.microsoft.com/office/drawing/2014/main" id="{31746AB0-DB8F-BCCA-7504-E45201A8FD33}"/>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23391" r="23391"/>
          <a:stretch/>
        </p:blipFill>
        <p:spPr/>
      </p:pic>
      <p:sp>
        <p:nvSpPr>
          <p:cNvPr id="11" name="TextBox 10">
            <a:extLst>
              <a:ext uri="{FF2B5EF4-FFF2-40B4-BE49-F238E27FC236}">
                <a16:creationId xmlns:a16="http://schemas.microsoft.com/office/drawing/2014/main" id="{0AA3705F-26A6-4143-A451-C8ABE44E2753}"/>
              </a:ext>
            </a:extLst>
          </p:cNvPr>
          <p:cNvSpPr txBox="1"/>
          <p:nvPr/>
        </p:nvSpPr>
        <p:spPr>
          <a:xfrm>
            <a:off x="10639508" y="5610474"/>
            <a:ext cx="647163" cy="261610"/>
          </a:xfrm>
          <a:prstGeom prst="rect">
            <a:avLst/>
          </a:prstGeom>
          <a:noFill/>
        </p:spPr>
        <p:txBody>
          <a:bodyPr wrap="square" rtlCol="0">
            <a:spAutoFit/>
          </a:bodyPr>
          <a:lstStyle/>
          <a:p>
            <a:pPr algn="r"/>
            <a:r>
              <a:rPr lang="en-GB" sz="1100" b="1">
                <a:solidFill>
                  <a:schemeClr val="accent5"/>
                </a:solidFill>
              </a:rPr>
              <a:t>Page </a:t>
            </a:r>
            <a:fld id="{31162368-E213-4388-85D6-4D6322C03159}" type="slidenum">
              <a:rPr lang="en-GB" sz="1100" b="1" smtClean="0">
                <a:solidFill>
                  <a:schemeClr val="accent5"/>
                </a:solidFill>
              </a:rPr>
              <a:pPr algn="r"/>
              <a:t>2</a:t>
            </a:fld>
            <a:endParaRPr lang="en-ID" sz="1100" b="1">
              <a:solidFill>
                <a:schemeClr val="accent5"/>
              </a:solidFill>
            </a:endParaRPr>
          </a:p>
        </p:txBody>
      </p:sp>
      <p:sp>
        <p:nvSpPr>
          <p:cNvPr id="12" name="TextBox 11">
            <a:extLst>
              <a:ext uri="{FF2B5EF4-FFF2-40B4-BE49-F238E27FC236}">
                <a16:creationId xmlns:a16="http://schemas.microsoft.com/office/drawing/2014/main" id="{B1AA5B3D-189F-469A-AF1F-3E6C412EA334}"/>
              </a:ext>
            </a:extLst>
          </p:cNvPr>
          <p:cNvSpPr txBox="1"/>
          <p:nvPr/>
        </p:nvSpPr>
        <p:spPr>
          <a:xfrm>
            <a:off x="5122606" y="1781272"/>
            <a:ext cx="4713852" cy="707886"/>
          </a:xfrm>
          <a:prstGeom prst="rect">
            <a:avLst/>
          </a:prstGeom>
          <a:noFill/>
        </p:spPr>
        <p:txBody>
          <a:bodyPr wrap="square" rtlCol="0">
            <a:spAutoFit/>
          </a:bodyPr>
          <a:lstStyle/>
          <a:p>
            <a:r>
              <a:rPr lang="en-US" sz="4000" b="1">
                <a:solidFill>
                  <a:srgbClr val="801619"/>
                </a:solidFill>
                <a:latin typeface="+mj-lt"/>
              </a:rPr>
              <a:t>Webinar</a:t>
            </a:r>
            <a:r>
              <a:rPr lang="en-US" sz="4000" b="1">
                <a:latin typeface="+mj-lt"/>
              </a:rPr>
              <a:t> Agenda</a:t>
            </a:r>
            <a:endParaRPr lang="en-ID" sz="4000" b="1">
              <a:latin typeface="+mj-lt"/>
            </a:endParaRPr>
          </a:p>
        </p:txBody>
      </p:sp>
      <p:sp>
        <p:nvSpPr>
          <p:cNvPr id="14" name="TextBox 13">
            <a:extLst>
              <a:ext uri="{FF2B5EF4-FFF2-40B4-BE49-F238E27FC236}">
                <a16:creationId xmlns:a16="http://schemas.microsoft.com/office/drawing/2014/main" id="{802D7617-9E21-47A6-A249-A8B9100923DA}"/>
              </a:ext>
            </a:extLst>
          </p:cNvPr>
          <p:cNvSpPr txBox="1"/>
          <p:nvPr/>
        </p:nvSpPr>
        <p:spPr>
          <a:xfrm>
            <a:off x="5414595" y="2642293"/>
            <a:ext cx="4929097" cy="584775"/>
          </a:xfrm>
          <a:prstGeom prst="rect">
            <a:avLst/>
          </a:prstGeom>
          <a:noFill/>
        </p:spPr>
        <p:txBody>
          <a:bodyPr wrap="square" rtlCol="0">
            <a:spAutoFit/>
          </a:bodyPr>
          <a:lstStyle/>
          <a:p>
            <a:r>
              <a:rPr lang="en-US" sz="1600" dirty="0"/>
              <a:t>Principles of ISO 20121 and its relevance to event sustainability.</a:t>
            </a:r>
            <a:endParaRPr lang="en-ID" sz="1600" b="1" dirty="0">
              <a:ea typeface="Open Sans SemiBold" panose="020B0706030804020204" pitchFamily="34" charset="0"/>
              <a:cs typeface="Open Sans SemiBold" panose="020B0706030804020204" pitchFamily="34" charset="0"/>
            </a:endParaRPr>
          </a:p>
        </p:txBody>
      </p:sp>
      <p:sp>
        <p:nvSpPr>
          <p:cNvPr id="18" name="TextBox 17">
            <a:extLst>
              <a:ext uri="{FF2B5EF4-FFF2-40B4-BE49-F238E27FC236}">
                <a16:creationId xmlns:a16="http://schemas.microsoft.com/office/drawing/2014/main" id="{8B87F45C-AD12-41DC-ACE2-69886FBF392D}"/>
              </a:ext>
            </a:extLst>
          </p:cNvPr>
          <p:cNvSpPr txBox="1"/>
          <p:nvPr/>
        </p:nvSpPr>
        <p:spPr>
          <a:xfrm>
            <a:off x="5414595" y="3271458"/>
            <a:ext cx="5354019" cy="584775"/>
          </a:xfrm>
          <a:prstGeom prst="rect">
            <a:avLst/>
          </a:prstGeom>
          <a:noFill/>
        </p:spPr>
        <p:txBody>
          <a:bodyPr wrap="square" rtlCol="0">
            <a:spAutoFit/>
          </a:bodyPr>
          <a:lstStyle/>
          <a:p>
            <a:r>
              <a:rPr lang="en-US" sz="1600" dirty="0"/>
              <a:t>Importance of sustainability in event management and its benefits.</a:t>
            </a:r>
            <a:endParaRPr lang="en-ID" sz="1600" b="1" dirty="0">
              <a:ea typeface="Open Sans SemiBold" panose="020B0706030804020204" pitchFamily="34" charset="0"/>
              <a:cs typeface="Open Sans SemiBold" panose="020B0706030804020204" pitchFamily="34" charset="0"/>
            </a:endParaRPr>
          </a:p>
        </p:txBody>
      </p:sp>
      <p:sp>
        <p:nvSpPr>
          <p:cNvPr id="4" name="Isosceles Triangle 3">
            <a:extLst>
              <a:ext uri="{FF2B5EF4-FFF2-40B4-BE49-F238E27FC236}">
                <a16:creationId xmlns:a16="http://schemas.microsoft.com/office/drawing/2014/main" id="{4C4ED167-212B-4251-BB15-9710397D8A68}"/>
              </a:ext>
            </a:extLst>
          </p:cNvPr>
          <p:cNvSpPr/>
          <p:nvPr/>
        </p:nvSpPr>
        <p:spPr>
          <a:xfrm rot="5400000">
            <a:off x="5199632" y="2786417"/>
            <a:ext cx="197426" cy="81086"/>
          </a:xfrm>
          <a:prstGeom prst="triangle">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Isosceles Triangle 19">
            <a:extLst>
              <a:ext uri="{FF2B5EF4-FFF2-40B4-BE49-F238E27FC236}">
                <a16:creationId xmlns:a16="http://schemas.microsoft.com/office/drawing/2014/main" id="{233F71C4-8B1A-47D4-8697-654EFBD5F2DB}"/>
              </a:ext>
            </a:extLst>
          </p:cNvPr>
          <p:cNvSpPr/>
          <p:nvPr/>
        </p:nvSpPr>
        <p:spPr>
          <a:xfrm rot="5400000">
            <a:off x="5199631" y="3419490"/>
            <a:ext cx="197426" cy="8108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Isosceles Triangle 2">
            <a:extLst>
              <a:ext uri="{FF2B5EF4-FFF2-40B4-BE49-F238E27FC236}">
                <a16:creationId xmlns:a16="http://schemas.microsoft.com/office/drawing/2014/main" id="{C753465B-E1CD-B14B-8447-93B1F189E202}"/>
              </a:ext>
            </a:extLst>
          </p:cNvPr>
          <p:cNvSpPr/>
          <p:nvPr/>
        </p:nvSpPr>
        <p:spPr>
          <a:xfrm rot="5400000">
            <a:off x="5199630" y="4755700"/>
            <a:ext cx="197426" cy="81086"/>
          </a:xfrm>
          <a:prstGeom prst="triangle">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Graphic 7">
            <a:extLst>
              <a:ext uri="{FF2B5EF4-FFF2-40B4-BE49-F238E27FC236}">
                <a16:creationId xmlns:a16="http://schemas.microsoft.com/office/drawing/2014/main" id="{4437C531-0434-0FC7-961E-7575830BD8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3918" y="353186"/>
            <a:ext cx="988221" cy="197644"/>
          </a:xfrm>
          <a:prstGeom prst="rect">
            <a:avLst/>
          </a:prstGeom>
        </p:spPr>
      </p:pic>
      <p:sp>
        <p:nvSpPr>
          <p:cNvPr id="5" name="Isosceles Triangle 4">
            <a:extLst>
              <a:ext uri="{FF2B5EF4-FFF2-40B4-BE49-F238E27FC236}">
                <a16:creationId xmlns:a16="http://schemas.microsoft.com/office/drawing/2014/main" id="{C10FE821-FC0E-8391-B1E9-EFC8B6B16F8D}"/>
              </a:ext>
            </a:extLst>
          </p:cNvPr>
          <p:cNvSpPr/>
          <p:nvPr/>
        </p:nvSpPr>
        <p:spPr>
          <a:xfrm rot="5400000">
            <a:off x="5199631" y="4105837"/>
            <a:ext cx="197426" cy="8108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BF499F-529D-01C7-0168-B6659D856141}"/>
              </a:ext>
            </a:extLst>
          </p:cNvPr>
          <p:cNvSpPr txBox="1"/>
          <p:nvPr/>
        </p:nvSpPr>
        <p:spPr>
          <a:xfrm>
            <a:off x="5449179" y="3952705"/>
            <a:ext cx="4877009" cy="584775"/>
          </a:xfrm>
          <a:prstGeom prst="rect">
            <a:avLst/>
          </a:prstGeom>
          <a:noFill/>
        </p:spPr>
        <p:txBody>
          <a:bodyPr wrap="square">
            <a:spAutoFit/>
          </a:bodyPr>
          <a:lstStyle/>
          <a:p>
            <a:r>
              <a:rPr lang="en-US" sz="1600" dirty="0">
                <a:solidFill>
                  <a:srgbClr val="4B4B4B"/>
                </a:solidFill>
                <a:latin typeface="+mj-lt"/>
              </a:rPr>
              <a:t>S</a:t>
            </a:r>
            <a:r>
              <a:rPr lang="en-US" sz="1600" b="0" i="0" dirty="0">
                <a:solidFill>
                  <a:srgbClr val="4B4B4B"/>
                </a:solidFill>
                <a:effectLst/>
                <a:latin typeface="+mj-lt"/>
              </a:rPr>
              <a:t>trategies for incorporating sustainability into event planning and management.</a:t>
            </a:r>
            <a:endParaRPr lang="en-ID" sz="1600" b="1" dirty="0">
              <a:latin typeface="+mj-lt"/>
              <a:ea typeface="Open Sans SemiBold" panose="020B0706030804020204" pitchFamily="34" charset="0"/>
              <a:cs typeface="Open Sans SemiBold" panose="020B0706030804020204" pitchFamily="34" charset="0"/>
            </a:endParaRPr>
          </a:p>
        </p:txBody>
      </p:sp>
      <p:sp>
        <p:nvSpPr>
          <p:cNvPr id="13" name="TextBox 12">
            <a:extLst>
              <a:ext uri="{FF2B5EF4-FFF2-40B4-BE49-F238E27FC236}">
                <a16:creationId xmlns:a16="http://schemas.microsoft.com/office/drawing/2014/main" id="{443F6020-283E-DBAB-9214-BF637835C7C9}"/>
              </a:ext>
            </a:extLst>
          </p:cNvPr>
          <p:cNvSpPr txBox="1"/>
          <p:nvPr/>
        </p:nvSpPr>
        <p:spPr>
          <a:xfrm>
            <a:off x="5449179" y="4638533"/>
            <a:ext cx="4589499" cy="584775"/>
          </a:xfrm>
          <a:prstGeom prst="rect">
            <a:avLst/>
          </a:prstGeom>
          <a:noFill/>
        </p:spPr>
        <p:txBody>
          <a:bodyPr wrap="square">
            <a:spAutoFit/>
          </a:bodyPr>
          <a:lstStyle/>
          <a:p>
            <a:r>
              <a:rPr kumimoji="0" lang="en-US" sz="1600" b="0" i="0" u="none" strike="noStrike" kern="1200" cap="none" spc="0" normalizeH="0" baseline="0" noProof="0" dirty="0">
                <a:ln>
                  <a:noFill/>
                </a:ln>
                <a:solidFill>
                  <a:srgbClr val="1F1F1F"/>
                </a:solidFill>
                <a:effectLst/>
                <a:uLnTx/>
                <a:uFillTx/>
                <a:latin typeface="Montserrat"/>
                <a:ea typeface="+mn-ea"/>
                <a:cs typeface="+mn-cs"/>
              </a:rPr>
              <a:t>Guidance for conducting effective audits for event sustainability</a:t>
            </a:r>
            <a:endParaRPr lang="en-GB" dirty="0"/>
          </a:p>
        </p:txBody>
      </p:sp>
    </p:spTree>
    <p:extLst>
      <p:ext uri="{BB962C8B-B14F-4D97-AF65-F5344CB8AC3E}">
        <p14:creationId xmlns:p14="http://schemas.microsoft.com/office/powerpoint/2010/main" val="1913331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2" presetClass="entr" presetSubtype="8" fill="hold" grpId="0" nodeType="withEffect">
                                  <p:stCondLst>
                                    <p:cond delay="50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750" fill="hold"/>
                                        <p:tgtEl>
                                          <p:spTgt spid="4"/>
                                        </p:tgtEl>
                                        <p:attrNameLst>
                                          <p:attrName>ppt_x</p:attrName>
                                        </p:attrNameLst>
                                      </p:cBhvr>
                                      <p:tavLst>
                                        <p:tav tm="0">
                                          <p:val>
                                            <p:strVal val="0-#ppt_w/2"/>
                                          </p:val>
                                        </p:tav>
                                        <p:tav tm="100000">
                                          <p:val>
                                            <p:strVal val="#ppt_x"/>
                                          </p:val>
                                        </p:tav>
                                      </p:tavLst>
                                    </p:anim>
                                    <p:anim calcmode="lin" valueType="num">
                                      <p:cBhvr additive="base">
                                        <p:cTn id="10" dur="750" fill="hold"/>
                                        <p:tgtEl>
                                          <p:spTgt spid="4"/>
                                        </p:tgtEl>
                                        <p:attrNameLst>
                                          <p:attrName>ppt_y</p:attrName>
                                        </p:attrNameLst>
                                      </p:cBhvr>
                                      <p:tavLst>
                                        <p:tav tm="0">
                                          <p:val>
                                            <p:strVal val="#ppt_y"/>
                                          </p:val>
                                        </p:tav>
                                        <p:tav tm="100000">
                                          <p:val>
                                            <p:strVal val="#ppt_y"/>
                                          </p:val>
                                        </p:tav>
                                      </p:tavLst>
                                    </p:anim>
                                  </p:childTnLst>
                                </p:cTn>
                              </p:par>
                              <p:par>
                                <p:cTn id="11" presetID="2" presetClass="entr" presetSubtype="8" fill="hold" grpId="0" nodeType="withEffect">
                                  <p:stCondLst>
                                    <p:cond delay="50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750" fill="hold"/>
                                        <p:tgtEl>
                                          <p:spTgt spid="14"/>
                                        </p:tgtEl>
                                        <p:attrNameLst>
                                          <p:attrName>ppt_x</p:attrName>
                                        </p:attrNameLst>
                                      </p:cBhvr>
                                      <p:tavLst>
                                        <p:tav tm="0">
                                          <p:val>
                                            <p:strVal val="0-#ppt_w/2"/>
                                          </p:val>
                                        </p:tav>
                                        <p:tav tm="100000">
                                          <p:val>
                                            <p:strVal val="#ppt_x"/>
                                          </p:val>
                                        </p:tav>
                                      </p:tavLst>
                                    </p:anim>
                                    <p:anim calcmode="lin" valueType="num">
                                      <p:cBhvr additive="base">
                                        <p:cTn id="14" dur="750" fill="hold"/>
                                        <p:tgtEl>
                                          <p:spTgt spid="14"/>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20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750" fill="hold"/>
                                        <p:tgtEl>
                                          <p:spTgt spid="3"/>
                                        </p:tgtEl>
                                        <p:attrNameLst>
                                          <p:attrName>ppt_x</p:attrName>
                                        </p:attrNameLst>
                                      </p:cBhvr>
                                      <p:tavLst>
                                        <p:tav tm="0">
                                          <p:val>
                                            <p:strVal val="0-#ppt_w/2"/>
                                          </p:val>
                                        </p:tav>
                                        <p:tav tm="100000">
                                          <p:val>
                                            <p:strVal val="#ppt_x"/>
                                          </p:val>
                                        </p:tav>
                                      </p:tavLst>
                                    </p:anim>
                                    <p:anim calcmode="lin" valueType="num">
                                      <p:cBhvr additive="base">
                                        <p:cTn id="18" dur="750" fill="hold"/>
                                        <p:tgtEl>
                                          <p:spTgt spid="3"/>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750" fill="hold"/>
                                        <p:tgtEl>
                                          <p:spTgt spid="20"/>
                                        </p:tgtEl>
                                        <p:attrNameLst>
                                          <p:attrName>ppt_x</p:attrName>
                                        </p:attrNameLst>
                                      </p:cBhvr>
                                      <p:tavLst>
                                        <p:tav tm="0">
                                          <p:val>
                                            <p:strVal val="0-#ppt_w/2"/>
                                          </p:val>
                                        </p:tav>
                                        <p:tav tm="100000">
                                          <p:val>
                                            <p:strVal val="#ppt_x"/>
                                          </p:val>
                                        </p:tav>
                                      </p:tavLst>
                                    </p:anim>
                                    <p:anim calcmode="lin" valueType="num">
                                      <p:cBhvr additive="base">
                                        <p:cTn id="22" dur="750" fill="hold"/>
                                        <p:tgtEl>
                                          <p:spTgt spid="20"/>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100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750" fill="hold"/>
                                        <p:tgtEl>
                                          <p:spTgt spid="18"/>
                                        </p:tgtEl>
                                        <p:attrNameLst>
                                          <p:attrName>ppt_x</p:attrName>
                                        </p:attrNameLst>
                                      </p:cBhvr>
                                      <p:tavLst>
                                        <p:tav tm="0">
                                          <p:val>
                                            <p:strVal val="0-#ppt_w/2"/>
                                          </p:val>
                                        </p:tav>
                                        <p:tav tm="100000">
                                          <p:val>
                                            <p:strVal val="#ppt_x"/>
                                          </p:val>
                                        </p:tav>
                                      </p:tavLst>
                                    </p:anim>
                                    <p:anim calcmode="lin" valueType="num">
                                      <p:cBhvr additive="base">
                                        <p:cTn id="26" dur="750" fill="hold"/>
                                        <p:tgtEl>
                                          <p:spTgt spid="18"/>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1500"/>
                                  </p:stCondLst>
                                  <p:childTnLst>
                                    <p:set>
                                      <p:cBhvr>
                                        <p:cTn id="28" dur="1" fill="hold">
                                          <p:stCondLst>
                                            <p:cond delay="0"/>
                                          </p:stCondLst>
                                        </p:cTn>
                                        <p:tgtEl>
                                          <p:spTgt spid="5"/>
                                        </p:tgtEl>
                                        <p:attrNameLst>
                                          <p:attrName>style.visibility</p:attrName>
                                        </p:attrNameLst>
                                      </p:cBhvr>
                                      <p:to>
                                        <p:strVal val="visible"/>
                                      </p:to>
                                    </p:set>
                                    <p:anim calcmode="lin" valueType="num">
                                      <p:cBhvr additive="base">
                                        <p:cTn id="29" dur="750" fill="hold"/>
                                        <p:tgtEl>
                                          <p:spTgt spid="5"/>
                                        </p:tgtEl>
                                        <p:attrNameLst>
                                          <p:attrName>ppt_x</p:attrName>
                                        </p:attrNameLst>
                                      </p:cBhvr>
                                      <p:tavLst>
                                        <p:tav tm="0">
                                          <p:val>
                                            <p:strVal val="0-#ppt_w/2"/>
                                          </p:val>
                                        </p:tav>
                                        <p:tav tm="100000">
                                          <p:val>
                                            <p:strVal val="#ppt_x"/>
                                          </p:val>
                                        </p:tav>
                                      </p:tavLst>
                                    </p:anim>
                                    <p:anim calcmode="lin" valueType="num">
                                      <p:cBhvr additive="base">
                                        <p:cTn id="30" dur="750" fill="hold"/>
                                        <p:tgtEl>
                                          <p:spTgt spid="5"/>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1500"/>
                                  </p:stCondLst>
                                  <p:childTnLst>
                                    <p:set>
                                      <p:cBhvr>
                                        <p:cTn id="32" dur="1" fill="hold">
                                          <p:stCondLst>
                                            <p:cond delay="0"/>
                                          </p:stCondLst>
                                        </p:cTn>
                                        <p:tgtEl>
                                          <p:spTgt spid="9"/>
                                        </p:tgtEl>
                                        <p:attrNameLst>
                                          <p:attrName>style.visibility</p:attrName>
                                        </p:attrNameLst>
                                      </p:cBhvr>
                                      <p:to>
                                        <p:strVal val="visible"/>
                                      </p:to>
                                    </p:set>
                                    <p:anim calcmode="lin" valueType="num">
                                      <p:cBhvr additive="base">
                                        <p:cTn id="33" dur="750" fill="hold"/>
                                        <p:tgtEl>
                                          <p:spTgt spid="9"/>
                                        </p:tgtEl>
                                        <p:attrNameLst>
                                          <p:attrName>ppt_x</p:attrName>
                                        </p:attrNameLst>
                                      </p:cBhvr>
                                      <p:tavLst>
                                        <p:tav tm="0">
                                          <p:val>
                                            <p:strVal val="0-#ppt_w/2"/>
                                          </p:val>
                                        </p:tav>
                                        <p:tav tm="100000">
                                          <p:val>
                                            <p:strVal val="#ppt_x"/>
                                          </p:val>
                                        </p:tav>
                                      </p:tavLst>
                                    </p:anim>
                                    <p:anim calcmode="lin" valueType="num">
                                      <p:cBhvr additive="base">
                                        <p:cTn id="34" dur="750" fill="hold"/>
                                        <p:tgtEl>
                                          <p:spTgt spid="9"/>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200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750" fill="hold"/>
                                        <p:tgtEl>
                                          <p:spTgt spid="13"/>
                                        </p:tgtEl>
                                        <p:attrNameLst>
                                          <p:attrName>ppt_x</p:attrName>
                                        </p:attrNameLst>
                                      </p:cBhvr>
                                      <p:tavLst>
                                        <p:tav tm="0">
                                          <p:val>
                                            <p:strVal val="0-#ppt_w/2"/>
                                          </p:val>
                                        </p:tav>
                                        <p:tav tm="100000">
                                          <p:val>
                                            <p:strVal val="#ppt_x"/>
                                          </p:val>
                                        </p:tav>
                                      </p:tavLst>
                                    </p:anim>
                                    <p:anim calcmode="lin" valueType="num">
                                      <p:cBhvr additive="base">
                                        <p:cTn id="38" dur="75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8" grpId="0"/>
      <p:bldP spid="4" grpId="0" animBg="1"/>
      <p:bldP spid="20" grpId="0" animBg="1"/>
      <p:bldP spid="3" grpId="0" animBg="1"/>
      <p:bldP spid="5" grpId="0" animBg="1"/>
      <p:bldP spid="9" grpId="0"/>
      <p:bldP spid="1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3181B5-6245-0223-A21E-A9DC8641E9E7}"/>
              </a:ext>
            </a:extLst>
          </p:cNvPr>
          <p:cNvSpPr/>
          <p:nvPr/>
        </p:nvSpPr>
        <p:spPr>
          <a:xfrm>
            <a:off x="0" y="0"/>
            <a:ext cx="7643674"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4" name="Espace réservé du contenu 7">
            <a:extLst>
              <a:ext uri="{FF2B5EF4-FFF2-40B4-BE49-F238E27FC236}">
                <a16:creationId xmlns:a16="http://schemas.microsoft.com/office/drawing/2014/main" id="{78747543-1FEB-C3E9-33C3-FCB2BAE59B68}"/>
              </a:ext>
            </a:extLst>
          </p:cNvPr>
          <p:cNvSpPr txBox="1">
            <a:spLocks/>
          </p:cNvSpPr>
          <p:nvPr/>
        </p:nvSpPr>
        <p:spPr>
          <a:xfrm>
            <a:off x="1597980" y="2521842"/>
            <a:ext cx="4962618" cy="2724862"/>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sz="1200" dirty="0">
                <a:solidFill>
                  <a:schemeClr val="bg1"/>
                </a:solidFill>
              </a:rPr>
              <a:t>When establishing SEMS, procedures for evaluation and assessment</a:t>
            </a:r>
            <a:r>
              <a:rPr lang="en-US" sz="1200" b="1" dirty="0">
                <a:solidFill>
                  <a:schemeClr val="bg1"/>
                </a:solidFill>
              </a:rPr>
              <a:t> </a:t>
            </a:r>
            <a:r>
              <a:rPr lang="en-US" sz="1200" dirty="0">
                <a:solidFill>
                  <a:schemeClr val="bg1"/>
                </a:solidFill>
              </a:rPr>
              <a:t>of the overall functioning of the EMS should take place. </a:t>
            </a:r>
          </a:p>
          <a:p>
            <a:pPr algn="just">
              <a:lnSpc>
                <a:spcPct val="150000"/>
              </a:lnSpc>
            </a:pPr>
            <a:r>
              <a:rPr lang="en-US" sz="1200" dirty="0">
                <a:solidFill>
                  <a:schemeClr val="bg1"/>
                </a:solidFill>
              </a:rPr>
              <a:t>Results of these evaluation processes are essential for the planning and modification of the existing SEMS structure to strive for continuous improvement.</a:t>
            </a:r>
          </a:p>
        </p:txBody>
      </p:sp>
      <p:sp>
        <p:nvSpPr>
          <p:cNvPr id="5" name="TextBox 4">
            <a:extLst>
              <a:ext uri="{FF2B5EF4-FFF2-40B4-BE49-F238E27FC236}">
                <a16:creationId xmlns:a16="http://schemas.microsoft.com/office/drawing/2014/main" id="{EAF13324-2EC7-FA76-4A40-C0D0A231C709}"/>
              </a:ext>
            </a:extLst>
          </p:cNvPr>
          <p:cNvSpPr txBox="1"/>
          <p:nvPr/>
        </p:nvSpPr>
        <p:spPr>
          <a:xfrm>
            <a:off x="1248700" y="1745825"/>
            <a:ext cx="4706282" cy="584775"/>
          </a:xfrm>
          <a:prstGeom prst="rect">
            <a:avLst/>
          </a:prstGeom>
          <a:noFill/>
        </p:spPr>
        <p:txBody>
          <a:bodyPr wrap="square">
            <a:spAutoFit/>
          </a:bodyPr>
          <a:lstStyle/>
          <a:p>
            <a:r>
              <a:rPr lang="en-US" sz="3200" b="1">
                <a:solidFill>
                  <a:schemeClr val="bg1"/>
                </a:solidFill>
              </a:rPr>
              <a:t>EMS Improvement</a:t>
            </a:r>
          </a:p>
        </p:txBody>
      </p:sp>
      <p:pic>
        <p:nvPicPr>
          <p:cNvPr id="6" name="Picture 2" descr="C:\Users\Samsung-Pc\Desktop\statistics13.png">
            <a:extLst>
              <a:ext uri="{FF2B5EF4-FFF2-40B4-BE49-F238E27FC236}">
                <a16:creationId xmlns:a16="http://schemas.microsoft.com/office/drawing/2014/main" id="{1011B4AE-45E4-9E2B-C483-42E0F72027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46220" y="2141959"/>
            <a:ext cx="2669541" cy="3000210"/>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a:extLst>
              <a:ext uri="{FF2B5EF4-FFF2-40B4-BE49-F238E27FC236}">
                <a16:creationId xmlns:a16="http://schemas.microsoft.com/office/drawing/2014/main" id="{032E3456-1CFF-66AA-202C-F8808C8EE4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Tree>
    <p:extLst>
      <p:ext uri="{BB962C8B-B14F-4D97-AF65-F5344CB8AC3E}">
        <p14:creationId xmlns:p14="http://schemas.microsoft.com/office/powerpoint/2010/main" val="16822700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9D3D91-3BE2-81D4-88BA-4B79032F8C2B}"/>
              </a:ext>
            </a:extLst>
          </p:cNvPr>
          <p:cNvSpPr/>
          <p:nvPr/>
        </p:nvSpPr>
        <p:spPr>
          <a:xfrm>
            <a:off x="0" y="10886"/>
            <a:ext cx="6724650"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34DC3C6D-6FD6-43F5-B034-C60170C1DD4D}"/>
              </a:ext>
            </a:extLst>
          </p:cNvPr>
          <p:cNvSpPr txBox="1"/>
          <p:nvPr/>
        </p:nvSpPr>
        <p:spPr>
          <a:xfrm>
            <a:off x="999571" y="2639632"/>
            <a:ext cx="3246362"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FFFFF"/>
                </a:solidFill>
                <a:effectLst/>
                <a:uLnTx/>
                <a:uFillTx/>
                <a:latin typeface="Montserrat"/>
                <a:ea typeface="+mn-ea"/>
                <a:cs typeface="+mn-cs"/>
              </a:rPr>
              <a:t>ISO 201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FFFFF"/>
                </a:solidFill>
                <a:effectLst/>
                <a:uLnTx/>
                <a:uFillTx/>
                <a:latin typeface="Montserrat"/>
                <a:ea typeface="+mn-ea"/>
                <a:cs typeface="+mn-cs"/>
              </a:rPr>
              <a:t>Audits</a:t>
            </a:r>
          </a:p>
        </p:txBody>
      </p:sp>
      <p:pic>
        <p:nvPicPr>
          <p:cNvPr id="6" name="Picture 5">
            <a:extLst>
              <a:ext uri="{FF2B5EF4-FFF2-40B4-BE49-F238E27FC236}">
                <a16:creationId xmlns:a16="http://schemas.microsoft.com/office/drawing/2014/main" id="{DE3D721E-13B4-0304-3648-D240C122CE2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400675" y="1518082"/>
            <a:ext cx="6791325" cy="3939163"/>
          </a:xfrm>
          <a:prstGeom prst="rect">
            <a:avLst/>
          </a:prstGeom>
        </p:spPr>
      </p:pic>
      <p:sp>
        <p:nvSpPr>
          <p:cNvPr id="8" name="Rectangle 7">
            <a:extLst>
              <a:ext uri="{FF2B5EF4-FFF2-40B4-BE49-F238E27FC236}">
                <a16:creationId xmlns:a16="http://schemas.microsoft.com/office/drawing/2014/main" id="{9A48E439-CFC8-693F-CF31-D6D5F01FC8EC}"/>
              </a:ext>
            </a:extLst>
          </p:cNvPr>
          <p:cNvSpPr/>
          <p:nvPr/>
        </p:nvSpPr>
        <p:spPr>
          <a:xfrm>
            <a:off x="809625" y="2639632"/>
            <a:ext cx="64293" cy="1446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3" name="Graphic 2">
            <a:extLst>
              <a:ext uri="{FF2B5EF4-FFF2-40B4-BE49-F238E27FC236}">
                <a16:creationId xmlns:a16="http://schemas.microsoft.com/office/drawing/2014/main" id="{9DEA8876-B510-9187-27D1-5D5F5F39AE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Tree>
    <p:extLst>
      <p:ext uri="{BB962C8B-B14F-4D97-AF65-F5344CB8AC3E}">
        <p14:creationId xmlns:p14="http://schemas.microsoft.com/office/powerpoint/2010/main" val="4011451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9F99A-3203-54D0-1BA4-F41221E97C94}"/>
              </a:ext>
            </a:extLst>
          </p:cNvPr>
          <p:cNvSpPr/>
          <p:nvPr/>
        </p:nvSpPr>
        <p:spPr>
          <a:xfrm>
            <a:off x="0" y="0"/>
            <a:ext cx="7643674"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4" name="Espace réservé du contenu 7">
            <a:extLst>
              <a:ext uri="{FF2B5EF4-FFF2-40B4-BE49-F238E27FC236}">
                <a16:creationId xmlns:a16="http://schemas.microsoft.com/office/drawing/2014/main" id="{81B047B0-6EC2-B0E3-ECCF-8BD3DE605B55}"/>
              </a:ext>
            </a:extLst>
          </p:cNvPr>
          <p:cNvSpPr txBox="1">
            <a:spLocks/>
          </p:cNvSpPr>
          <p:nvPr/>
        </p:nvSpPr>
        <p:spPr>
          <a:xfrm>
            <a:off x="1597980" y="2521842"/>
            <a:ext cx="3888420" cy="1455354"/>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defRPr/>
            </a:pPr>
            <a:r>
              <a:rPr lang="en-CA" sz="1200" dirty="0">
                <a:solidFill>
                  <a:schemeClr val="bg1"/>
                </a:solidFill>
                <a:cs typeface="Arial" charset="0"/>
              </a:rPr>
              <a:t>Systematic, independent and documented process to obtain audit evidence and to evaluate them to determine how much they meet the audit criteria</a:t>
            </a:r>
          </a:p>
          <a:p>
            <a:pPr marL="0" indent="0">
              <a:buNone/>
              <a:defRPr/>
            </a:pPr>
            <a:endParaRPr lang="en-CA" sz="1200" dirty="0">
              <a:solidFill>
                <a:schemeClr val="bg1"/>
              </a:solidFill>
            </a:endParaRPr>
          </a:p>
        </p:txBody>
      </p:sp>
      <p:sp>
        <p:nvSpPr>
          <p:cNvPr id="5" name="TextBox 4">
            <a:extLst>
              <a:ext uri="{FF2B5EF4-FFF2-40B4-BE49-F238E27FC236}">
                <a16:creationId xmlns:a16="http://schemas.microsoft.com/office/drawing/2014/main" id="{C09EE22A-1587-40BD-5990-ADEA5CFEC198}"/>
              </a:ext>
            </a:extLst>
          </p:cNvPr>
          <p:cNvSpPr txBox="1"/>
          <p:nvPr/>
        </p:nvSpPr>
        <p:spPr>
          <a:xfrm>
            <a:off x="1248700" y="2121732"/>
            <a:ext cx="4706282" cy="400110"/>
          </a:xfrm>
          <a:prstGeom prst="rect">
            <a:avLst/>
          </a:prstGeom>
          <a:noFill/>
        </p:spPr>
        <p:txBody>
          <a:bodyPr wrap="square">
            <a:spAutoFit/>
          </a:bodyPr>
          <a:lstStyle/>
          <a:p>
            <a:r>
              <a:rPr lang="en-US" sz="2000" b="1" dirty="0">
                <a:solidFill>
                  <a:schemeClr val="bg1"/>
                </a:solidFill>
              </a:rPr>
              <a:t>ISO 19011, Clause 3.1</a:t>
            </a:r>
          </a:p>
        </p:txBody>
      </p:sp>
      <p:pic>
        <p:nvPicPr>
          <p:cNvPr id="6" name="Graphic 5">
            <a:extLst>
              <a:ext uri="{FF2B5EF4-FFF2-40B4-BE49-F238E27FC236}">
                <a16:creationId xmlns:a16="http://schemas.microsoft.com/office/drawing/2014/main" id="{55475717-0481-A8D9-CB1C-07A046A1BC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73918" y="353186"/>
            <a:ext cx="988221" cy="197644"/>
          </a:xfrm>
          <a:prstGeom prst="rect">
            <a:avLst/>
          </a:prstGeom>
        </p:spPr>
      </p:pic>
      <p:sp>
        <p:nvSpPr>
          <p:cNvPr id="7" name="TextBox 6">
            <a:extLst>
              <a:ext uri="{FF2B5EF4-FFF2-40B4-BE49-F238E27FC236}">
                <a16:creationId xmlns:a16="http://schemas.microsoft.com/office/drawing/2014/main" id="{782092AD-3926-9578-5374-35864FF5FD17}"/>
              </a:ext>
            </a:extLst>
          </p:cNvPr>
          <p:cNvSpPr txBox="1"/>
          <p:nvPr/>
        </p:nvSpPr>
        <p:spPr>
          <a:xfrm>
            <a:off x="1248700" y="773042"/>
            <a:ext cx="4706282" cy="584775"/>
          </a:xfrm>
          <a:prstGeom prst="rect">
            <a:avLst/>
          </a:prstGeom>
          <a:noFill/>
        </p:spPr>
        <p:txBody>
          <a:bodyPr wrap="square">
            <a:spAutoFit/>
          </a:bodyPr>
          <a:lstStyle/>
          <a:p>
            <a:r>
              <a:rPr lang="en-US" sz="3200" b="1" dirty="0">
                <a:solidFill>
                  <a:schemeClr val="bg1"/>
                </a:solidFill>
              </a:rPr>
              <a:t>What is an Audit?</a:t>
            </a:r>
          </a:p>
        </p:txBody>
      </p:sp>
      <p:grpSp>
        <p:nvGrpSpPr>
          <p:cNvPr id="8" name="Group 7">
            <a:extLst>
              <a:ext uri="{FF2B5EF4-FFF2-40B4-BE49-F238E27FC236}">
                <a16:creationId xmlns:a16="http://schemas.microsoft.com/office/drawing/2014/main" id="{5A56E9B0-96D0-EAA7-34C7-ABA01ACB4341}"/>
              </a:ext>
            </a:extLst>
          </p:cNvPr>
          <p:cNvGrpSpPr/>
          <p:nvPr/>
        </p:nvGrpSpPr>
        <p:grpSpPr>
          <a:xfrm>
            <a:off x="8751439" y="2121732"/>
            <a:ext cx="3033826" cy="2983681"/>
            <a:chOff x="8974138" y="341313"/>
            <a:chExt cx="384175" cy="377825"/>
          </a:xfrm>
          <a:solidFill>
            <a:srgbClr val="801619"/>
          </a:solidFill>
        </p:grpSpPr>
        <p:sp>
          <p:nvSpPr>
            <p:cNvPr id="9" name="Freeform 121">
              <a:extLst>
                <a:ext uri="{FF2B5EF4-FFF2-40B4-BE49-F238E27FC236}">
                  <a16:creationId xmlns:a16="http://schemas.microsoft.com/office/drawing/2014/main" id="{FBECA9F0-615F-CF25-ED6C-2ED3692737CE}"/>
                </a:ext>
              </a:extLst>
            </p:cNvPr>
            <p:cNvSpPr>
              <a:spLocks/>
            </p:cNvSpPr>
            <p:nvPr/>
          </p:nvSpPr>
          <p:spPr bwMode="auto">
            <a:xfrm>
              <a:off x="8974138" y="341313"/>
              <a:ext cx="300038" cy="377825"/>
            </a:xfrm>
            <a:custGeom>
              <a:avLst/>
              <a:gdLst>
                <a:gd name="T0" fmla="*/ 0 w 2644"/>
                <a:gd name="T1" fmla="*/ 0 h 3336"/>
                <a:gd name="T2" fmla="*/ 2644 w 2644"/>
                <a:gd name="T3" fmla="*/ 0 h 3336"/>
                <a:gd name="T4" fmla="*/ 2644 w 2644"/>
                <a:gd name="T5" fmla="*/ 1187 h 3336"/>
                <a:gd name="T6" fmla="*/ 2335 w 2644"/>
                <a:gd name="T7" fmla="*/ 1496 h 3336"/>
                <a:gd name="T8" fmla="*/ 2335 w 2644"/>
                <a:gd name="T9" fmla="*/ 335 h 3336"/>
                <a:gd name="T10" fmla="*/ 309 w 2644"/>
                <a:gd name="T11" fmla="*/ 335 h 3336"/>
                <a:gd name="T12" fmla="*/ 309 w 2644"/>
                <a:gd name="T13" fmla="*/ 3000 h 3336"/>
                <a:gd name="T14" fmla="*/ 1324 w 2644"/>
                <a:gd name="T15" fmla="*/ 3000 h 3336"/>
                <a:gd name="T16" fmla="*/ 1260 w 2644"/>
                <a:gd name="T17" fmla="*/ 3238 h 3336"/>
                <a:gd name="T18" fmla="*/ 2155 w 2644"/>
                <a:gd name="T19" fmla="*/ 3000 h 3336"/>
                <a:gd name="T20" fmla="*/ 2644 w 2644"/>
                <a:gd name="T21" fmla="*/ 2526 h 3336"/>
                <a:gd name="T22" fmla="*/ 2644 w 2644"/>
                <a:gd name="T23" fmla="*/ 3336 h 3336"/>
                <a:gd name="T24" fmla="*/ 0 w 2644"/>
                <a:gd name="T25" fmla="*/ 3336 h 3336"/>
                <a:gd name="T26" fmla="*/ 0 w 2644"/>
                <a:gd name="T27" fmla="*/ 0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4" h="3336">
                  <a:moveTo>
                    <a:pt x="0" y="0"/>
                  </a:moveTo>
                  <a:lnTo>
                    <a:pt x="2644" y="0"/>
                  </a:lnTo>
                  <a:lnTo>
                    <a:pt x="2644" y="1187"/>
                  </a:lnTo>
                  <a:lnTo>
                    <a:pt x="2335" y="1496"/>
                  </a:lnTo>
                  <a:lnTo>
                    <a:pt x="2335" y="335"/>
                  </a:lnTo>
                  <a:lnTo>
                    <a:pt x="309" y="335"/>
                  </a:lnTo>
                  <a:lnTo>
                    <a:pt x="309" y="3000"/>
                  </a:lnTo>
                  <a:lnTo>
                    <a:pt x="1324" y="3000"/>
                  </a:lnTo>
                  <a:lnTo>
                    <a:pt x="1260" y="3238"/>
                  </a:lnTo>
                  <a:lnTo>
                    <a:pt x="2155" y="3000"/>
                  </a:lnTo>
                  <a:lnTo>
                    <a:pt x="2644" y="2526"/>
                  </a:lnTo>
                  <a:lnTo>
                    <a:pt x="2644" y="3336"/>
                  </a:lnTo>
                  <a:lnTo>
                    <a:pt x="0" y="333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22">
              <a:extLst>
                <a:ext uri="{FF2B5EF4-FFF2-40B4-BE49-F238E27FC236}">
                  <a16:creationId xmlns:a16="http://schemas.microsoft.com/office/drawing/2014/main" id="{E02DA24B-A782-6B5A-3457-95E4C5C7782F}"/>
                </a:ext>
              </a:extLst>
            </p:cNvPr>
            <p:cNvSpPr>
              <a:spLocks/>
            </p:cNvSpPr>
            <p:nvPr/>
          </p:nvSpPr>
          <p:spPr bwMode="auto">
            <a:xfrm>
              <a:off x="9142413" y="623888"/>
              <a:ext cx="58738" cy="58737"/>
            </a:xfrm>
            <a:custGeom>
              <a:avLst/>
              <a:gdLst>
                <a:gd name="T0" fmla="*/ 139 w 518"/>
                <a:gd name="T1" fmla="*/ 0 h 514"/>
                <a:gd name="T2" fmla="*/ 518 w 518"/>
                <a:gd name="T3" fmla="*/ 378 h 514"/>
                <a:gd name="T4" fmla="*/ 0 w 518"/>
                <a:gd name="T5" fmla="*/ 514 h 514"/>
                <a:gd name="T6" fmla="*/ 139 w 518"/>
                <a:gd name="T7" fmla="*/ 0 h 514"/>
              </a:gdLst>
              <a:ahLst/>
              <a:cxnLst>
                <a:cxn ang="0">
                  <a:pos x="T0" y="T1"/>
                </a:cxn>
                <a:cxn ang="0">
                  <a:pos x="T2" y="T3"/>
                </a:cxn>
                <a:cxn ang="0">
                  <a:pos x="T4" y="T5"/>
                </a:cxn>
                <a:cxn ang="0">
                  <a:pos x="T6" y="T7"/>
                </a:cxn>
              </a:cxnLst>
              <a:rect l="0" t="0" r="r" b="b"/>
              <a:pathLst>
                <a:path w="518" h="514">
                  <a:moveTo>
                    <a:pt x="139" y="0"/>
                  </a:moveTo>
                  <a:lnTo>
                    <a:pt x="518" y="378"/>
                  </a:lnTo>
                  <a:lnTo>
                    <a:pt x="0" y="514"/>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23">
              <a:extLst>
                <a:ext uri="{FF2B5EF4-FFF2-40B4-BE49-F238E27FC236}">
                  <a16:creationId xmlns:a16="http://schemas.microsoft.com/office/drawing/2014/main" id="{7DE4B334-EEE1-AE41-AA0A-8D19993CC4BB}"/>
                </a:ext>
              </a:extLst>
            </p:cNvPr>
            <p:cNvSpPr>
              <a:spLocks/>
            </p:cNvSpPr>
            <p:nvPr/>
          </p:nvSpPr>
          <p:spPr bwMode="auto">
            <a:xfrm>
              <a:off x="9167813" y="468313"/>
              <a:ext cx="190500" cy="188912"/>
            </a:xfrm>
            <a:custGeom>
              <a:avLst/>
              <a:gdLst>
                <a:gd name="T0" fmla="*/ 1237 w 1680"/>
                <a:gd name="T1" fmla="*/ 0 h 1675"/>
                <a:gd name="T2" fmla="*/ 1680 w 1680"/>
                <a:gd name="T3" fmla="*/ 442 h 1675"/>
                <a:gd name="T4" fmla="*/ 448 w 1680"/>
                <a:gd name="T5" fmla="*/ 1675 h 1675"/>
                <a:gd name="T6" fmla="*/ 445 w 1680"/>
                <a:gd name="T7" fmla="*/ 1675 h 1675"/>
                <a:gd name="T8" fmla="*/ 3 w 1680"/>
                <a:gd name="T9" fmla="*/ 1235 h 1675"/>
                <a:gd name="T10" fmla="*/ 0 w 1680"/>
                <a:gd name="T11" fmla="*/ 1233 h 1675"/>
                <a:gd name="T12" fmla="*/ 1237 w 1680"/>
                <a:gd name="T13" fmla="*/ 0 h 1675"/>
              </a:gdLst>
              <a:ahLst/>
              <a:cxnLst>
                <a:cxn ang="0">
                  <a:pos x="T0" y="T1"/>
                </a:cxn>
                <a:cxn ang="0">
                  <a:pos x="T2" y="T3"/>
                </a:cxn>
                <a:cxn ang="0">
                  <a:pos x="T4" y="T5"/>
                </a:cxn>
                <a:cxn ang="0">
                  <a:pos x="T6" y="T7"/>
                </a:cxn>
                <a:cxn ang="0">
                  <a:pos x="T8" y="T9"/>
                </a:cxn>
                <a:cxn ang="0">
                  <a:pos x="T10" y="T11"/>
                </a:cxn>
                <a:cxn ang="0">
                  <a:pos x="T12" y="T13"/>
                </a:cxn>
              </a:cxnLst>
              <a:rect l="0" t="0" r="r" b="b"/>
              <a:pathLst>
                <a:path w="1680" h="1675">
                  <a:moveTo>
                    <a:pt x="1237" y="0"/>
                  </a:moveTo>
                  <a:lnTo>
                    <a:pt x="1680" y="442"/>
                  </a:lnTo>
                  <a:lnTo>
                    <a:pt x="448" y="1675"/>
                  </a:lnTo>
                  <a:lnTo>
                    <a:pt x="445" y="1675"/>
                  </a:lnTo>
                  <a:lnTo>
                    <a:pt x="3" y="1235"/>
                  </a:lnTo>
                  <a:lnTo>
                    <a:pt x="0" y="1233"/>
                  </a:lnTo>
                  <a:lnTo>
                    <a:pt x="1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24">
              <a:extLst>
                <a:ext uri="{FF2B5EF4-FFF2-40B4-BE49-F238E27FC236}">
                  <a16:creationId xmlns:a16="http://schemas.microsoft.com/office/drawing/2014/main" id="{2A6F2AE1-509A-FE32-2D0A-FC6F1AD5088B}"/>
                </a:ext>
              </a:extLst>
            </p:cNvPr>
            <p:cNvSpPr>
              <a:spLocks/>
            </p:cNvSpPr>
            <p:nvPr/>
          </p:nvSpPr>
          <p:spPr bwMode="auto">
            <a:xfrm>
              <a:off x="9037638" y="420688"/>
              <a:ext cx="174625" cy="19050"/>
            </a:xfrm>
            <a:custGeom>
              <a:avLst/>
              <a:gdLst>
                <a:gd name="T0" fmla="*/ 81 w 1551"/>
                <a:gd name="T1" fmla="*/ 0 h 162"/>
                <a:gd name="T2" fmla="*/ 1471 w 1551"/>
                <a:gd name="T3" fmla="*/ 0 h 162"/>
                <a:gd name="T4" fmla="*/ 1491 w 1551"/>
                <a:gd name="T5" fmla="*/ 3 h 162"/>
                <a:gd name="T6" fmla="*/ 1511 w 1551"/>
                <a:gd name="T7" fmla="*/ 11 h 162"/>
                <a:gd name="T8" fmla="*/ 1527 w 1551"/>
                <a:gd name="T9" fmla="*/ 24 h 162"/>
                <a:gd name="T10" fmla="*/ 1539 w 1551"/>
                <a:gd name="T11" fmla="*/ 41 h 162"/>
                <a:gd name="T12" fmla="*/ 1548 w 1551"/>
                <a:gd name="T13" fmla="*/ 60 h 162"/>
                <a:gd name="T14" fmla="*/ 1551 w 1551"/>
                <a:gd name="T15" fmla="*/ 81 h 162"/>
                <a:gd name="T16" fmla="*/ 1548 w 1551"/>
                <a:gd name="T17" fmla="*/ 103 h 162"/>
                <a:gd name="T18" fmla="*/ 1539 w 1551"/>
                <a:gd name="T19" fmla="*/ 122 h 162"/>
                <a:gd name="T20" fmla="*/ 1527 w 1551"/>
                <a:gd name="T21" fmla="*/ 138 h 162"/>
                <a:gd name="T22" fmla="*/ 1511 w 1551"/>
                <a:gd name="T23" fmla="*/ 152 h 162"/>
                <a:gd name="T24" fmla="*/ 1491 w 1551"/>
                <a:gd name="T25" fmla="*/ 159 h 162"/>
                <a:gd name="T26" fmla="*/ 1471 w 1551"/>
                <a:gd name="T27" fmla="*/ 162 h 162"/>
                <a:gd name="T28" fmla="*/ 81 w 1551"/>
                <a:gd name="T29" fmla="*/ 162 h 162"/>
                <a:gd name="T30" fmla="*/ 59 w 1551"/>
                <a:gd name="T31" fmla="*/ 159 h 162"/>
                <a:gd name="T32" fmla="*/ 39 w 1551"/>
                <a:gd name="T33" fmla="*/ 151 h 162"/>
                <a:gd name="T34" fmla="*/ 23 w 1551"/>
                <a:gd name="T35" fmla="*/ 137 h 162"/>
                <a:gd name="T36" fmla="*/ 11 w 1551"/>
                <a:gd name="T37" fmla="*/ 121 h 162"/>
                <a:gd name="T38" fmla="*/ 3 w 1551"/>
                <a:gd name="T39" fmla="*/ 102 h 162"/>
                <a:gd name="T40" fmla="*/ 0 w 1551"/>
                <a:gd name="T41" fmla="*/ 81 h 162"/>
                <a:gd name="T42" fmla="*/ 3 w 1551"/>
                <a:gd name="T43" fmla="*/ 59 h 162"/>
                <a:gd name="T44" fmla="*/ 12 w 1551"/>
                <a:gd name="T45" fmla="*/ 40 h 162"/>
                <a:gd name="T46" fmla="*/ 25 w 1551"/>
                <a:gd name="T47" fmla="*/ 23 h 162"/>
                <a:gd name="T48" fmla="*/ 41 w 1551"/>
                <a:gd name="T49" fmla="*/ 11 h 162"/>
                <a:gd name="T50" fmla="*/ 60 w 1551"/>
                <a:gd name="T51" fmla="*/ 3 h 162"/>
                <a:gd name="T52" fmla="*/ 81 w 1551"/>
                <a:gd name="T5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1" h="162">
                  <a:moveTo>
                    <a:pt x="81" y="0"/>
                  </a:moveTo>
                  <a:lnTo>
                    <a:pt x="1471" y="0"/>
                  </a:lnTo>
                  <a:lnTo>
                    <a:pt x="1491" y="3"/>
                  </a:lnTo>
                  <a:lnTo>
                    <a:pt x="1511" y="11"/>
                  </a:lnTo>
                  <a:lnTo>
                    <a:pt x="1527" y="24"/>
                  </a:lnTo>
                  <a:lnTo>
                    <a:pt x="1539" y="41"/>
                  </a:lnTo>
                  <a:lnTo>
                    <a:pt x="1548" y="60"/>
                  </a:lnTo>
                  <a:lnTo>
                    <a:pt x="1551" y="81"/>
                  </a:lnTo>
                  <a:lnTo>
                    <a:pt x="1548" y="103"/>
                  </a:lnTo>
                  <a:lnTo>
                    <a:pt x="1539" y="122"/>
                  </a:lnTo>
                  <a:lnTo>
                    <a:pt x="1527" y="138"/>
                  </a:lnTo>
                  <a:lnTo>
                    <a:pt x="1511" y="152"/>
                  </a:lnTo>
                  <a:lnTo>
                    <a:pt x="1491" y="159"/>
                  </a:lnTo>
                  <a:lnTo>
                    <a:pt x="1471" y="162"/>
                  </a:lnTo>
                  <a:lnTo>
                    <a:pt x="81" y="162"/>
                  </a:lnTo>
                  <a:lnTo>
                    <a:pt x="59" y="159"/>
                  </a:lnTo>
                  <a:lnTo>
                    <a:pt x="39" y="151"/>
                  </a:lnTo>
                  <a:lnTo>
                    <a:pt x="23" y="137"/>
                  </a:lnTo>
                  <a:lnTo>
                    <a:pt x="11" y="121"/>
                  </a:lnTo>
                  <a:lnTo>
                    <a:pt x="3" y="102"/>
                  </a:lnTo>
                  <a:lnTo>
                    <a:pt x="0" y="81"/>
                  </a:lnTo>
                  <a:lnTo>
                    <a:pt x="3" y="59"/>
                  </a:lnTo>
                  <a:lnTo>
                    <a:pt x="12" y="40"/>
                  </a:lnTo>
                  <a:lnTo>
                    <a:pt x="25" y="23"/>
                  </a:lnTo>
                  <a:lnTo>
                    <a:pt x="41" y="11"/>
                  </a:lnTo>
                  <a:lnTo>
                    <a:pt x="60"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25">
              <a:extLst>
                <a:ext uri="{FF2B5EF4-FFF2-40B4-BE49-F238E27FC236}">
                  <a16:creationId xmlns:a16="http://schemas.microsoft.com/office/drawing/2014/main" id="{7CDF7D35-71C0-F696-B683-1C89AF31C131}"/>
                </a:ext>
              </a:extLst>
            </p:cNvPr>
            <p:cNvSpPr>
              <a:spLocks/>
            </p:cNvSpPr>
            <p:nvPr/>
          </p:nvSpPr>
          <p:spPr bwMode="auto">
            <a:xfrm>
              <a:off x="9037638" y="477838"/>
              <a:ext cx="174625" cy="17462"/>
            </a:xfrm>
            <a:custGeom>
              <a:avLst/>
              <a:gdLst>
                <a:gd name="T0" fmla="*/ 81 w 1551"/>
                <a:gd name="T1" fmla="*/ 0 h 162"/>
                <a:gd name="T2" fmla="*/ 1471 w 1551"/>
                <a:gd name="T3" fmla="*/ 0 h 162"/>
                <a:gd name="T4" fmla="*/ 1491 w 1551"/>
                <a:gd name="T5" fmla="*/ 3 h 162"/>
                <a:gd name="T6" fmla="*/ 1511 w 1551"/>
                <a:gd name="T7" fmla="*/ 11 h 162"/>
                <a:gd name="T8" fmla="*/ 1527 w 1551"/>
                <a:gd name="T9" fmla="*/ 24 h 162"/>
                <a:gd name="T10" fmla="*/ 1539 w 1551"/>
                <a:gd name="T11" fmla="*/ 41 h 162"/>
                <a:gd name="T12" fmla="*/ 1548 w 1551"/>
                <a:gd name="T13" fmla="*/ 60 h 162"/>
                <a:gd name="T14" fmla="*/ 1551 w 1551"/>
                <a:gd name="T15" fmla="*/ 81 h 162"/>
                <a:gd name="T16" fmla="*/ 1548 w 1551"/>
                <a:gd name="T17" fmla="*/ 102 h 162"/>
                <a:gd name="T18" fmla="*/ 1539 w 1551"/>
                <a:gd name="T19" fmla="*/ 122 h 162"/>
                <a:gd name="T20" fmla="*/ 1527 w 1551"/>
                <a:gd name="T21" fmla="*/ 138 h 162"/>
                <a:gd name="T22" fmla="*/ 1511 w 1551"/>
                <a:gd name="T23" fmla="*/ 150 h 162"/>
                <a:gd name="T24" fmla="*/ 1491 w 1551"/>
                <a:gd name="T25" fmla="*/ 158 h 162"/>
                <a:gd name="T26" fmla="*/ 1471 w 1551"/>
                <a:gd name="T27" fmla="*/ 162 h 162"/>
                <a:gd name="T28" fmla="*/ 81 w 1551"/>
                <a:gd name="T29" fmla="*/ 162 h 162"/>
                <a:gd name="T30" fmla="*/ 59 w 1551"/>
                <a:gd name="T31" fmla="*/ 158 h 162"/>
                <a:gd name="T32" fmla="*/ 39 w 1551"/>
                <a:gd name="T33" fmla="*/ 150 h 162"/>
                <a:gd name="T34" fmla="*/ 23 w 1551"/>
                <a:gd name="T35" fmla="*/ 137 h 162"/>
                <a:gd name="T36" fmla="*/ 11 w 1551"/>
                <a:gd name="T37" fmla="*/ 121 h 162"/>
                <a:gd name="T38" fmla="*/ 3 w 1551"/>
                <a:gd name="T39" fmla="*/ 101 h 162"/>
                <a:gd name="T40" fmla="*/ 0 w 1551"/>
                <a:gd name="T41" fmla="*/ 81 h 162"/>
                <a:gd name="T42" fmla="*/ 3 w 1551"/>
                <a:gd name="T43" fmla="*/ 59 h 162"/>
                <a:gd name="T44" fmla="*/ 12 w 1551"/>
                <a:gd name="T45" fmla="*/ 40 h 162"/>
                <a:gd name="T46" fmla="*/ 25 w 1551"/>
                <a:gd name="T47" fmla="*/ 23 h 162"/>
                <a:gd name="T48" fmla="*/ 41 w 1551"/>
                <a:gd name="T49" fmla="*/ 11 h 162"/>
                <a:gd name="T50" fmla="*/ 60 w 1551"/>
                <a:gd name="T51" fmla="*/ 3 h 162"/>
                <a:gd name="T52" fmla="*/ 81 w 1551"/>
                <a:gd name="T5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1" h="162">
                  <a:moveTo>
                    <a:pt x="81" y="0"/>
                  </a:moveTo>
                  <a:lnTo>
                    <a:pt x="1471" y="0"/>
                  </a:lnTo>
                  <a:lnTo>
                    <a:pt x="1491" y="3"/>
                  </a:lnTo>
                  <a:lnTo>
                    <a:pt x="1511" y="11"/>
                  </a:lnTo>
                  <a:lnTo>
                    <a:pt x="1527" y="24"/>
                  </a:lnTo>
                  <a:lnTo>
                    <a:pt x="1539" y="41"/>
                  </a:lnTo>
                  <a:lnTo>
                    <a:pt x="1548" y="60"/>
                  </a:lnTo>
                  <a:lnTo>
                    <a:pt x="1551" y="81"/>
                  </a:lnTo>
                  <a:lnTo>
                    <a:pt x="1548" y="102"/>
                  </a:lnTo>
                  <a:lnTo>
                    <a:pt x="1539" y="122"/>
                  </a:lnTo>
                  <a:lnTo>
                    <a:pt x="1527" y="138"/>
                  </a:lnTo>
                  <a:lnTo>
                    <a:pt x="1511" y="150"/>
                  </a:lnTo>
                  <a:lnTo>
                    <a:pt x="1491" y="158"/>
                  </a:lnTo>
                  <a:lnTo>
                    <a:pt x="1471" y="162"/>
                  </a:lnTo>
                  <a:lnTo>
                    <a:pt x="81" y="162"/>
                  </a:lnTo>
                  <a:lnTo>
                    <a:pt x="59" y="158"/>
                  </a:lnTo>
                  <a:lnTo>
                    <a:pt x="39" y="150"/>
                  </a:lnTo>
                  <a:lnTo>
                    <a:pt x="23" y="137"/>
                  </a:lnTo>
                  <a:lnTo>
                    <a:pt x="11" y="121"/>
                  </a:lnTo>
                  <a:lnTo>
                    <a:pt x="3" y="101"/>
                  </a:lnTo>
                  <a:lnTo>
                    <a:pt x="0" y="81"/>
                  </a:lnTo>
                  <a:lnTo>
                    <a:pt x="3" y="59"/>
                  </a:lnTo>
                  <a:lnTo>
                    <a:pt x="12" y="40"/>
                  </a:lnTo>
                  <a:lnTo>
                    <a:pt x="25" y="23"/>
                  </a:lnTo>
                  <a:lnTo>
                    <a:pt x="41" y="11"/>
                  </a:lnTo>
                  <a:lnTo>
                    <a:pt x="60"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26">
              <a:extLst>
                <a:ext uri="{FF2B5EF4-FFF2-40B4-BE49-F238E27FC236}">
                  <a16:creationId xmlns:a16="http://schemas.microsoft.com/office/drawing/2014/main" id="{D0A36AF0-9F7A-CCC0-F380-E3959FD7C41C}"/>
                </a:ext>
              </a:extLst>
            </p:cNvPr>
            <p:cNvSpPr>
              <a:spLocks/>
            </p:cNvSpPr>
            <p:nvPr/>
          </p:nvSpPr>
          <p:spPr bwMode="auto">
            <a:xfrm>
              <a:off x="9037638" y="533400"/>
              <a:ext cx="174625" cy="17462"/>
            </a:xfrm>
            <a:custGeom>
              <a:avLst/>
              <a:gdLst>
                <a:gd name="T0" fmla="*/ 81 w 1551"/>
                <a:gd name="T1" fmla="*/ 0 h 162"/>
                <a:gd name="T2" fmla="*/ 1471 w 1551"/>
                <a:gd name="T3" fmla="*/ 0 h 162"/>
                <a:gd name="T4" fmla="*/ 1492 w 1551"/>
                <a:gd name="T5" fmla="*/ 3 h 162"/>
                <a:gd name="T6" fmla="*/ 1512 w 1551"/>
                <a:gd name="T7" fmla="*/ 12 h 162"/>
                <a:gd name="T8" fmla="*/ 1528 w 1551"/>
                <a:gd name="T9" fmla="*/ 25 h 162"/>
                <a:gd name="T10" fmla="*/ 1540 w 1551"/>
                <a:gd name="T11" fmla="*/ 41 h 162"/>
                <a:gd name="T12" fmla="*/ 1549 w 1551"/>
                <a:gd name="T13" fmla="*/ 61 h 162"/>
                <a:gd name="T14" fmla="*/ 1551 w 1551"/>
                <a:gd name="T15" fmla="*/ 81 h 162"/>
                <a:gd name="T16" fmla="*/ 1548 w 1551"/>
                <a:gd name="T17" fmla="*/ 102 h 162"/>
                <a:gd name="T18" fmla="*/ 1539 w 1551"/>
                <a:gd name="T19" fmla="*/ 121 h 162"/>
                <a:gd name="T20" fmla="*/ 1527 w 1551"/>
                <a:gd name="T21" fmla="*/ 138 h 162"/>
                <a:gd name="T22" fmla="*/ 1511 w 1551"/>
                <a:gd name="T23" fmla="*/ 150 h 162"/>
                <a:gd name="T24" fmla="*/ 1491 w 1551"/>
                <a:gd name="T25" fmla="*/ 159 h 162"/>
                <a:gd name="T26" fmla="*/ 1471 w 1551"/>
                <a:gd name="T27" fmla="*/ 162 h 162"/>
                <a:gd name="T28" fmla="*/ 81 w 1551"/>
                <a:gd name="T29" fmla="*/ 162 h 162"/>
                <a:gd name="T30" fmla="*/ 59 w 1551"/>
                <a:gd name="T31" fmla="*/ 159 h 162"/>
                <a:gd name="T32" fmla="*/ 39 w 1551"/>
                <a:gd name="T33" fmla="*/ 151 h 162"/>
                <a:gd name="T34" fmla="*/ 23 w 1551"/>
                <a:gd name="T35" fmla="*/ 138 h 162"/>
                <a:gd name="T36" fmla="*/ 11 w 1551"/>
                <a:gd name="T37" fmla="*/ 121 h 162"/>
                <a:gd name="T38" fmla="*/ 3 w 1551"/>
                <a:gd name="T39" fmla="*/ 102 h 162"/>
                <a:gd name="T40" fmla="*/ 0 w 1551"/>
                <a:gd name="T41" fmla="*/ 81 h 162"/>
                <a:gd name="T42" fmla="*/ 3 w 1551"/>
                <a:gd name="T43" fmla="*/ 60 h 162"/>
                <a:gd name="T44" fmla="*/ 12 w 1551"/>
                <a:gd name="T45" fmla="*/ 40 h 162"/>
                <a:gd name="T46" fmla="*/ 25 w 1551"/>
                <a:gd name="T47" fmla="*/ 24 h 162"/>
                <a:gd name="T48" fmla="*/ 41 w 1551"/>
                <a:gd name="T49" fmla="*/ 12 h 162"/>
                <a:gd name="T50" fmla="*/ 60 w 1551"/>
                <a:gd name="T51" fmla="*/ 3 h 162"/>
                <a:gd name="T52" fmla="*/ 81 w 1551"/>
                <a:gd name="T5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51" h="162">
                  <a:moveTo>
                    <a:pt x="81" y="0"/>
                  </a:moveTo>
                  <a:lnTo>
                    <a:pt x="1471" y="0"/>
                  </a:lnTo>
                  <a:lnTo>
                    <a:pt x="1492" y="3"/>
                  </a:lnTo>
                  <a:lnTo>
                    <a:pt x="1512" y="12"/>
                  </a:lnTo>
                  <a:lnTo>
                    <a:pt x="1528" y="25"/>
                  </a:lnTo>
                  <a:lnTo>
                    <a:pt x="1540" y="41"/>
                  </a:lnTo>
                  <a:lnTo>
                    <a:pt x="1549" y="61"/>
                  </a:lnTo>
                  <a:lnTo>
                    <a:pt x="1551" y="81"/>
                  </a:lnTo>
                  <a:lnTo>
                    <a:pt x="1548" y="102"/>
                  </a:lnTo>
                  <a:lnTo>
                    <a:pt x="1539" y="121"/>
                  </a:lnTo>
                  <a:lnTo>
                    <a:pt x="1527" y="138"/>
                  </a:lnTo>
                  <a:lnTo>
                    <a:pt x="1511" y="150"/>
                  </a:lnTo>
                  <a:lnTo>
                    <a:pt x="1491" y="159"/>
                  </a:lnTo>
                  <a:lnTo>
                    <a:pt x="1471" y="162"/>
                  </a:lnTo>
                  <a:lnTo>
                    <a:pt x="81" y="162"/>
                  </a:lnTo>
                  <a:lnTo>
                    <a:pt x="59" y="159"/>
                  </a:lnTo>
                  <a:lnTo>
                    <a:pt x="39" y="151"/>
                  </a:lnTo>
                  <a:lnTo>
                    <a:pt x="23" y="138"/>
                  </a:lnTo>
                  <a:lnTo>
                    <a:pt x="11" y="121"/>
                  </a:lnTo>
                  <a:lnTo>
                    <a:pt x="3" y="102"/>
                  </a:lnTo>
                  <a:lnTo>
                    <a:pt x="0" y="81"/>
                  </a:lnTo>
                  <a:lnTo>
                    <a:pt x="3" y="60"/>
                  </a:lnTo>
                  <a:lnTo>
                    <a:pt x="12" y="40"/>
                  </a:lnTo>
                  <a:lnTo>
                    <a:pt x="25" y="24"/>
                  </a:lnTo>
                  <a:lnTo>
                    <a:pt x="41" y="12"/>
                  </a:lnTo>
                  <a:lnTo>
                    <a:pt x="60"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77384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out)">
                                      <p:cBhvr>
                                        <p:cTn id="7" dur="2000"/>
                                        <p:tgtEl>
                                          <p:spTgt spid="7"/>
                                        </p:tgtEl>
                                      </p:cBhvr>
                                    </p:animEffect>
                                  </p:childTnLst>
                                </p:cTn>
                              </p:par>
                              <p:par>
                                <p:cTn id="8" presetID="10" presetClass="entr" presetSubtype="0" fill="hold" grpId="0" nodeType="withEffect">
                                  <p:stCondLst>
                                    <p:cond delay="175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175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659C1CC-35C6-AC8B-085E-540DD5FB2D5C}"/>
              </a:ext>
            </a:extLst>
          </p:cNvPr>
          <p:cNvGrpSpPr/>
          <p:nvPr/>
        </p:nvGrpSpPr>
        <p:grpSpPr>
          <a:xfrm>
            <a:off x="1477578" y="1589102"/>
            <a:ext cx="9098793" cy="4816876"/>
            <a:chOff x="1118396" y="1514291"/>
            <a:chExt cx="9625804" cy="5095874"/>
          </a:xfrm>
        </p:grpSpPr>
        <p:sp>
          <p:nvSpPr>
            <p:cNvPr id="3" name="Rectangle 2">
              <a:extLst>
                <a:ext uri="{FF2B5EF4-FFF2-40B4-BE49-F238E27FC236}">
                  <a16:creationId xmlns:a16="http://schemas.microsoft.com/office/drawing/2014/main" id="{77334E50-F390-43A0-C750-9CDD9665D433}"/>
                </a:ext>
              </a:extLst>
            </p:cNvPr>
            <p:cNvSpPr/>
            <p:nvPr/>
          </p:nvSpPr>
          <p:spPr>
            <a:xfrm>
              <a:off x="7696200" y="2266766"/>
              <a:ext cx="2743200" cy="1260475"/>
            </a:xfrm>
            <a:prstGeom prst="rect">
              <a:avLst/>
            </a:prstGeom>
            <a:solidFill>
              <a:schemeClr val="bg1"/>
            </a:solidFill>
            <a:ln w="3175">
              <a:solidFill>
                <a:schemeClr val="bg1">
                  <a:lumMod val="85000"/>
                  <a:alpha val="0"/>
                </a:schemeClr>
              </a:solidFill>
            </a:ln>
            <a:effectLst>
              <a:outerShdw dist="12700" sx="1000" sy="1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rgbClr val="334653"/>
                  </a:solidFill>
                  <a:latin typeface="+mj-lt"/>
                  <a:cs typeface="Arial" pitchFamily="34" charset="0"/>
                </a:rPr>
                <a:t>Second Party Audit</a:t>
              </a:r>
            </a:p>
            <a:p>
              <a:pPr algn="ctr">
                <a:defRPr/>
              </a:pPr>
              <a:r>
                <a:rPr lang="en-CA" sz="1400" dirty="0">
                  <a:solidFill>
                    <a:srgbClr val="334653"/>
                  </a:solidFill>
                  <a:latin typeface="+mj-lt"/>
                  <a:cs typeface="Arial" pitchFamily="34" charset="0"/>
                </a:rPr>
                <a:t>Our organization audits our supplier</a:t>
              </a:r>
            </a:p>
          </p:txBody>
        </p:sp>
        <p:sp>
          <p:nvSpPr>
            <p:cNvPr id="4" name="Rectangle 3">
              <a:extLst>
                <a:ext uri="{FF2B5EF4-FFF2-40B4-BE49-F238E27FC236}">
                  <a16:creationId xmlns:a16="http://schemas.microsoft.com/office/drawing/2014/main" id="{524A12A0-E362-DBBA-AEF8-9F09C2E374BF}"/>
                </a:ext>
              </a:extLst>
            </p:cNvPr>
            <p:cNvSpPr/>
            <p:nvPr/>
          </p:nvSpPr>
          <p:spPr>
            <a:xfrm>
              <a:off x="1676400" y="1961965"/>
              <a:ext cx="2667000" cy="1676400"/>
            </a:xfrm>
            <a:prstGeom prst="rect">
              <a:avLst/>
            </a:prstGeom>
            <a:solidFill>
              <a:schemeClr val="bg1"/>
            </a:solidFill>
            <a:ln w="3175">
              <a:solidFill>
                <a:schemeClr val="bg1">
                  <a:lumMod val="85000"/>
                  <a:alpha val="0"/>
                </a:schemeClr>
              </a:solidFill>
            </a:ln>
            <a:effectLst>
              <a:outerShdw dist="12700" sx="1000" sy="1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rgbClr val="334653"/>
                  </a:solidFill>
                  <a:latin typeface="+mj-lt"/>
                  <a:cs typeface="Arial" pitchFamily="34" charset="0"/>
                </a:rPr>
                <a:t>Second Party Audit</a:t>
              </a:r>
            </a:p>
            <a:p>
              <a:pPr algn="ctr">
                <a:defRPr/>
              </a:pPr>
              <a:r>
                <a:rPr lang="en-CA" sz="1400" dirty="0">
                  <a:solidFill>
                    <a:srgbClr val="334653"/>
                  </a:solidFill>
                  <a:latin typeface="+mj-lt"/>
                  <a:cs typeface="Arial" pitchFamily="34" charset="0"/>
                </a:rPr>
                <a:t>Our customer audits our organization</a:t>
              </a:r>
            </a:p>
          </p:txBody>
        </p:sp>
        <p:sp>
          <p:nvSpPr>
            <p:cNvPr id="5" name="Hexagone 3">
              <a:extLst>
                <a:ext uri="{FF2B5EF4-FFF2-40B4-BE49-F238E27FC236}">
                  <a16:creationId xmlns:a16="http://schemas.microsoft.com/office/drawing/2014/main" id="{E1B5225E-C533-EABB-DF23-0C39DDD0E741}"/>
                </a:ext>
              </a:extLst>
            </p:cNvPr>
            <p:cNvSpPr/>
            <p:nvPr/>
          </p:nvSpPr>
          <p:spPr>
            <a:xfrm>
              <a:off x="3833812" y="2135003"/>
              <a:ext cx="4319588" cy="4170363"/>
            </a:xfrm>
            <a:prstGeom prst="hexagon">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6" name="Ellipse 22">
              <a:extLst>
                <a:ext uri="{FF2B5EF4-FFF2-40B4-BE49-F238E27FC236}">
                  <a16:creationId xmlns:a16="http://schemas.microsoft.com/office/drawing/2014/main" id="{B792B40C-B637-7D77-03F8-F64F00B82D3B}"/>
                </a:ext>
              </a:extLst>
            </p:cNvPr>
            <p:cNvSpPr/>
            <p:nvPr/>
          </p:nvSpPr>
          <p:spPr>
            <a:xfrm>
              <a:off x="5100638" y="3333565"/>
              <a:ext cx="1752600" cy="1752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7" name="Rectangle 6">
              <a:extLst>
                <a:ext uri="{FF2B5EF4-FFF2-40B4-BE49-F238E27FC236}">
                  <a16:creationId xmlns:a16="http://schemas.microsoft.com/office/drawing/2014/main" id="{A2CEFB3A-5613-4E36-8EA5-390CAB7596A3}"/>
                </a:ext>
              </a:extLst>
            </p:cNvPr>
            <p:cNvSpPr/>
            <p:nvPr/>
          </p:nvSpPr>
          <p:spPr>
            <a:xfrm>
              <a:off x="1752601" y="5009966"/>
              <a:ext cx="2176463" cy="1427163"/>
            </a:xfrm>
            <a:prstGeom prst="rect">
              <a:avLst/>
            </a:prstGeom>
            <a:solidFill>
              <a:schemeClr val="bg1"/>
            </a:solidFill>
            <a:ln w="3175">
              <a:solidFill>
                <a:schemeClr val="bg1">
                  <a:lumMod val="85000"/>
                  <a:alpha val="0"/>
                </a:schemeClr>
              </a:solidFill>
            </a:ln>
            <a:effectLst>
              <a:outerShdw dist="12700" sx="1000" sy="1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rgbClr val="334653"/>
                  </a:solidFill>
                  <a:latin typeface="+mj-lt"/>
                  <a:cs typeface="Arial" pitchFamily="34" charset="0"/>
                </a:rPr>
                <a:t>Third Party Audit</a:t>
              </a:r>
            </a:p>
            <a:p>
              <a:pPr algn="ctr">
                <a:defRPr/>
              </a:pPr>
              <a:r>
                <a:rPr lang="en-CA" sz="1400" dirty="0">
                  <a:solidFill>
                    <a:srgbClr val="334653"/>
                  </a:solidFill>
                  <a:latin typeface="+mj-lt"/>
                  <a:cs typeface="Arial" pitchFamily="34" charset="0"/>
                </a:rPr>
                <a:t>Our organization is audited by an independent organization</a:t>
              </a:r>
            </a:p>
          </p:txBody>
        </p:sp>
        <p:sp>
          <p:nvSpPr>
            <p:cNvPr id="8" name="Rectangle 7">
              <a:extLst>
                <a:ext uri="{FF2B5EF4-FFF2-40B4-BE49-F238E27FC236}">
                  <a16:creationId xmlns:a16="http://schemas.microsoft.com/office/drawing/2014/main" id="{65891A73-E7E3-A2AB-C9D0-AE2F838B5875}"/>
                </a:ext>
              </a:extLst>
            </p:cNvPr>
            <p:cNvSpPr/>
            <p:nvPr/>
          </p:nvSpPr>
          <p:spPr>
            <a:xfrm>
              <a:off x="1118396" y="3813075"/>
              <a:ext cx="1665285" cy="785813"/>
            </a:xfrm>
            <a:prstGeom prst="rect">
              <a:avLst/>
            </a:prstGeom>
            <a:noFill/>
            <a:ln>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2000" b="1">
                  <a:solidFill>
                    <a:schemeClr val="tx1"/>
                  </a:solidFill>
                  <a:latin typeface="+mj-lt"/>
                  <a:cs typeface="Arial" pitchFamily="34" charset="0"/>
                </a:rPr>
                <a:t>Customer</a:t>
              </a:r>
            </a:p>
          </p:txBody>
        </p:sp>
        <p:sp>
          <p:nvSpPr>
            <p:cNvPr id="9" name="Rectangle 8">
              <a:extLst>
                <a:ext uri="{FF2B5EF4-FFF2-40B4-BE49-F238E27FC236}">
                  <a16:creationId xmlns:a16="http://schemas.microsoft.com/office/drawing/2014/main" id="{3FDF480C-EB39-FF20-BA62-C43859FA86AE}"/>
                </a:ext>
              </a:extLst>
            </p:cNvPr>
            <p:cNvSpPr/>
            <p:nvPr/>
          </p:nvSpPr>
          <p:spPr>
            <a:xfrm>
              <a:off x="8886825" y="3837096"/>
              <a:ext cx="1857375" cy="785813"/>
            </a:xfrm>
            <a:prstGeom prst="rect">
              <a:avLst/>
            </a:prstGeom>
            <a:noFill/>
            <a:ln>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2000" b="1" dirty="0">
                  <a:solidFill>
                    <a:schemeClr val="tx1"/>
                  </a:solidFill>
                  <a:latin typeface="+mj-lt"/>
                  <a:cs typeface="Arial" pitchFamily="34" charset="0"/>
                </a:rPr>
                <a:t>Supplier</a:t>
              </a:r>
            </a:p>
          </p:txBody>
        </p:sp>
        <p:pic>
          <p:nvPicPr>
            <p:cNvPr id="10" name="Picture 3">
              <a:extLst>
                <a:ext uri="{FF2B5EF4-FFF2-40B4-BE49-F238E27FC236}">
                  <a16:creationId xmlns:a16="http://schemas.microsoft.com/office/drawing/2014/main" id="{167020F7-28C9-308F-9340-6DFF751CF3C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405438" y="3638365"/>
              <a:ext cx="1162050" cy="1152524"/>
            </a:xfrm>
            <a:prstGeom prst="rect">
              <a:avLst/>
            </a:prstGeom>
            <a:noFill/>
            <a:ln w="9525">
              <a:noFill/>
              <a:miter lim="800000"/>
              <a:headEnd/>
              <a:tailEnd/>
            </a:ln>
          </p:spPr>
        </p:pic>
        <p:sp>
          <p:nvSpPr>
            <p:cNvPr id="11" name="ZoneTexte 12">
              <a:extLst>
                <a:ext uri="{FF2B5EF4-FFF2-40B4-BE49-F238E27FC236}">
                  <a16:creationId xmlns:a16="http://schemas.microsoft.com/office/drawing/2014/main" id="{A930D281-1AFA-CD5A-13E5-405258FCD7F1}"/>
                </a:ext>
              </a:extLst>
            </p:cNvPr>
            <p:cNvSpPr txBox="1">
              <a:spLocks noChangeArrowheads="1"/>
            </p:cNvSpPr>
            <p:nvPr/>
          </p:nvSpPr>
          <p:spPr bwMode="auto">
            <a:xfrm>
              <a:off x="4953000" y="1514291"/>
              <a:ext cx="1790700" cy="461963"/>
            </a:xfrm>
            <a:prstGeom prst="rect">
              <a:avLst/>
            </a:prstGeom>
            <a:noFill/>
            <a:ln w="9525">
              <a:noFill/>
              <a:miter lim="800000"/>
              <a:headEnd/>
              <a:tailEnd/>
            </a:ln>
          </p:spPr>
          <p:txBody>
            <a:bodyPr>
              <a:spAutoFit/>
            </a:bodyPr>
            <a:lstStyle/>
            <a:p>
              <a:pPr algn="ctr"/>
              <a:r>
                <a:rPr lang="en-CA" sz="2400" b="1">
                  <a:cs typeface="Arial" charset="0"/>
                </a:rPr>
                <a:t>External</a:t>
              </a:r>
            </a:p>
          </p:txBody>
        </p:sp>
        <p:sp>
          <p:nvSpPr>
            <p:cNvPr id="12" name="ZoneTexte 13">
              <a:extLst>
                <a:ext uri="{FF2B5EF4-FFF2-40B4-BE49-F238E27FC236}">
                  <a16:creationId xmlns:a16="http://schemas.microsoft.com/office/drawing/2014/main" id="{5766B223-07DE-56CA-A596-7C6933A9581A}"/>
                </a:ext>
              </a:extLst>
            </p:cNvPr>
            <p:cNvSpPr txBox="1">
              <a:spLocks noChangeArrowheads="1"/>
            </p:cNvSpPr>
            <p:nvPr/>
          </p:nvSpPr>
          <p:spPr bwMode="auto">
            <a:xfrm>
              <a:off x="5100638" y="2161991"/>
              <a:ext cx="1714500" cy="461963"/>
            </a:xfrm>
            <a:prstGeom prst="rect">
              <a:avLst/>
            </a:prstGeom>
            <a:solidFill>
              <a:schemeClr val="bg1">
                <a:lumMod val="75000"/>
                <a:alpha val="0"/>
              </a:schemeClr>
            </a:solidFill>
            <a:ln w="9525">
              <a:noFill/>
              <a:miter lim="800000"/>
              <a:headEnd/>
              <a:tailEnd/>
            </a:ln>
          </p:spPr>
          <p:txBody>
            <a:bodyPr>
              <a:spAutoFit/>
            </a:bodyPr>
            <a:lstStyle/>
            <a:p>
              <a:pPr algn="ctr"/>
              <a:r>
                <a:rPr lang="en-CA" sz="2400" b="1">
                  <a:solidFill>
                    <a:schemeClr val="bg1"/>
                  </a:solidFill>
                  <a:cs typeface="Arial" charset="0"/>
                </a:rPr>
                <a:t>Internal</a:t>
              </a:r>
            </a:p>
          </p:txBody>
        </p:sp>
        <p:sp>
          <p:nvSpPr>
            <p:cNvPr id="13" name="ZoneTexte 14">
              <a:extLst>
                <a:ext uri="{FF2B5EF4-FFF2-40B4-BE49-F238E27FC236}">
                  <a16:creationId xmlns:a16="http://schemas.microsoft.com/office/drawing/2014/main" id="{5737D927-703B-3E8A-AD9D-ACA11E91A245}"/>
                </a:ext>
              </a:extLst>
            </p:cNvPr>
            <p:cNvSpPr txBox="1">
              <a:spLocks noChangeArrowheads="1"/>
            </p:cNvSpPr>
            <p:nvPr/>
          </p:nvSpPr>
          <p:spPr bwMode="auto">
            <a:xfrm>
              <a:off x="4872038" y="5362391"/>
              <a:ext cx="2438400" cy="461963"/>
            </a:xfrm>
            <a:prstGeom prst="rect">
              <a:avLst/>
            </a:prstGeom>
            <a:solidFill>
              <a:schemeClr val="bg1">
                <a:lumMod val="75000"/>
                <a:alpha val="0"/>
              </a:schemeClr>
            </a:solidFill>
            <a:ln w="9525">
              <a:noFill/>
              <a:miter lim="800000"/>
              <a:headEnd/>
              <a:tailEnd/>
            </a:ln>
          </p:spPr>
          <p:txBody>
            <a:bodyPr>
              <a:spAutoFit/>
            </a:bodyPr>
            <a:lstStyle/>
            <a:p>
              <a:pPr algn="ctr"/>
              <a:r>
                <a:rPr lang="en-CA" sz="2400" b="1">
                  <a:solidFill>
                    <a:schemeClr val="bg1"/>
                  </a:solidFill>
                  <a:cs typeface="Arial" charset="0"/>
                </a:rPr>
                <a:t>Organization</a:t>
              </a:r>
            </a:p>
          </p:txBody>
        </p:sp>
        <p:sp>
          <p:nvSpPr>
            <p:cNvPr id="14" name="Rectangle 13">
              <a:extLst>
                <a:ext uri="{FF2B5EF4-FFF2-40B4-BE49-F238E27FC236}">
                  <a16:creationId xmlns:a16="http://schemas.microsoft.com/office/drawing/2014/main" id="{FFA4C514-C44C-F4AE-61B7-0CF5F212CAE9}"/>
                </a:ext>
              </a:extLst>
            </p:cNvPr>
            <p:cNvSpPr/>
            <p:nvPr/>
          </p:nvSpPr>
          <p:spPr>
            <a:xfrm>
              <a:off x="4724401" y="2495365"/>
              <a:ext cx="2500313" cy="831850"/>
            </a:xfrm>
            <a:prstGeom prst="rect">
              <a:avLst/>
            </a:prstGeom>
            <a:solidFill>
              <a:schemeClr val="bg1">
                <a:lumMod val="75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200" b="1" dirty="0">
                  <a:solidFill>
                    <a:schemeClr val="bg1"/>
                  </a:solidFill>
                  <a:latin typeface="+mj-lt"/>
                  <a:cs typeface="Arial" pitchFamily="34" charset="0"/>
                </a:rPr>
                <a:t>First Party Audit</a:t>
              </a:r>
            </a:p>
            <a:p>
              <a:pPr algn="ctr">
                <a:defRPr/>
              </a:pPr>
              <a:r>
                <a:rPr lang="en-CA" sz="1200" dirty="0">
                  <a:solidFill>
                    <a:schemeClr val="bg1"/>
                  </a:solidFill>
                  <a:latin typeface="+mj-lt"/>
                  <a:cs typeface="Arial" pitchFamily="34" charset="0"/>
                </a:rPr>
                <a:t>Our organization audits </a:t>
              </a:r>
              <a:br>
                <a:rPr lang="en-CA" sz="1200" dirty="0">
                  <a:solidFill>
                    <a:schemeClr val="bg1"/>
                  </a:solidFill>
                  <a:latin typeface="+mj-lt"/>
                  <a:cs typeface="Arial" pitchFamily="34" charset="0"/>
                </a:rPr>
              </a:br>
              <a:r>
                <a:rPr lang="en-CA" sz="1200" dirty="0">
                  <a:solidFill>
                    <a:schemeClr val="bg1"/>
                  </a:solidFill>
                  <a:latin typeface="+mj-lt"/>
                  <a:cs typeface="Arial" pitchFamily="34" charset="0"/>
                </a:rPr>
                <a:t>its own systems</a:t>
              </a:r>
            </a:p>
          </p:txBody>
        </p:sp>
        <p:sp>
          <p:nvSpPr>
            <p:cNvPr id="15" name="Flèche droite 24">
              <a:extLst>
                <a:ext uri="{FF2B5EF4-FFF2-40B4-BE49-F238E27FC236}">
                  <a16:creationId xmlns:a16="http://schemas.microsoft.com/office/drawing/2014/main" id="{74AF8710-B147-A5D4-CB14-D49A2F457CC1}"/>
                </a:ext>
              </a:extLst>
            </p:cNvPr>
            <p:cNvSpPr/>
            <p:nvPr/>
          </p:nvSpPr>
          <p:spPr>
            <a:xfrm>
              <a:off x="4038600" y="5181415"/>
              <a:ext cx="838200" cy="361950"/>
            </a:xfrm>
            <a:prstGeom prst="rightArrow">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16" name="Ellipse 25">
              <a:extLst>
                <a:ext uri="{FF2B5EF4-FFF2-40B4-BE49-F238E27FC236}">
                  <a16:creationId xmlns:a16="http://schemas.microsoft.com/office/drawing/2014/main" id="{4445264D-DF7A-5394-03AA-BDA35910D651}"/>
                </a:ext>
              </a:extLst>
            </p:cNvPr>
            <p:cNvSpPr/>
            <p:nvPr/>
          </p:nvSpPr>
          <p:spPr>
            <a:xfrm>
              <a:off x="1752600" y="2190565"/>
              <a:ext cx="2514600" cy="1143000"/>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17" name="Ellipse 26">
              <a:extLst>
                <a:ext uri="{FF2B5EF4-FFF2-40B4-BE49-F238E27FC236}">
                  <a16:creationId xmlns:a16="http://schemas.microsoft.com/office/drawing/2014/main" id="{F504ED8D-A6FF-CB3E-0358-192CD0FB66CA}"/>
                </a:ext>
              </a:extLst>
            </p:cNvPr>
            <p:cNvSpPr/>
            <p:nvPr/>
          </p:nvSpPr>
          <p:spPr>
            <a:xfrm>
              <a:off x="7696200" y="2190565"/>
              <a:ext cx="2590800" cy="1371600"/>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18" name="Ellipse 27">
              <a:extLst>
                <a:ext uri="{FF2B5EF4-FFF2-40B4-BE49-F238E27FC236}">
                  <a16:creationId xmlns:a16="http://schemas.microsoft.com/office/drawing/2014/main" id="{003C1E86-4539-1A88-3B62-C7DC55A8E0C4}"/>
                </a:ext>
              </a:extLst>
            </p:cNvPr>
            <p:cNvSpPr/>
            <p:nvPr/>
          </p:nvSpPr>
          <p:spPr>
            <a:xfrm>
              <a:off x="1676400" y="4781365"/>
              <a:ext cx="2286000" cy="1828800"/>
            </a:xfrm>
            <a:prstGeom prst="ellips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19" name="Flèche droite 29">
              <a:extLst>
                <a:ext uri="{FF2B5EF4-FFF2-40B4-BE49-F238E27FC236}">
                  <a16:creationId xmlns:a16="http://schemas.microsoft.com/office/drawing/2014/main" id="{C5E9F0EC-5A73-2D88-CA54-DEDD80175E04}"/>
                </a:ext>
              </a:extLst>
            </p:cNvPr>
            <p:cNvSpPr/>
            <p:nvPr/>
          </p:nvSpPr>
          <p:spPr>
            <a:xfrm>
              <a:off x="2895600" y="4019365"/>
              <a:ext cx="838200" cy="361950"/>
            </a:xfrm>
            <a:prstGeom prst="rightArrow">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sp>
          <p:nvSpPr>
            <p:cNvPr id="20" name="Flèche droite 30">
              <a:extLst>
                <a:ext uri="{FF2B5EF4-FFF2-40B4-BE49-F238E27FC236}">
                  <a16:creationId xmlns:a16="http://schemas.microsoft.com/office/drawing/2014/main" id="{663A3DEA-CC38-76C7-5CB7-3263E6F8FB0F}"/>
                </a:ext>
              </a:extLst>
            </p:cNvPr>
            <p:cNvSpPr/>
            <p:nvPr/>
          </p:nvSpPr>
          <p:spPr>
            <a:xfrm>
              <a:off x="8305800" y="4019365"/>
              <a:ext cx="685800" cy="361950"/>
            </a:xfrm>
            <a:prstGeom prst="rightArrow">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p>
          </p:txBody>
        </p:sp>
      </p:grpSp>
      <p:sp>
        <p:nvSpPr>
          <p:cNvPr id="21" name="TextBox 20">
            <a:extLst>
              <a:ext uri="{FF2B5EF4-FFF2-40B4-BE49-F238E27FC236}">
                <a16:creationId xmlns:a16="http://schemas.microsoft.com/office/drawing/2014/main" id="{98C8B16B-7B8B-E420-A9DA-0220A17222C4}"/>
              </a:ext>
            </a:extLst>
          </p:cNvPr>
          <p:cNvSpPr txBox="1"/>
          <p:nvPr/>
        </p:nvSpPr>
        <p:spPr>
          <a:xfrm>
            <a:off x="1477578" y="740790"/>
            <a:ext cx="8960620" cy="584775"/>
          </a:xfrm>
          <a:prstGeom prst="rect">
            <a:avLst/>
          </a:prstGeom>
          <a:noFill/>
        </p:spPr>
        <p:txBody>
          <a:bodyPr wrap="square">
            <a:spAutoFit/>
          </a:bodyPr>
          <a:lstStyle/>
          <a:p>
            <a:pPr algn="ctr"/>
            <a:r>
              <a:rPr lang="en-US" sz="3200" b="1" dirty="0">
                <a:solidFill>
                  <a:srgbClr val="801619"/>
                </a:solidFill>
              </a:rPr>
              <a:t>Type of Audits</a:t>
            </a:r>
          </a:p>
        </p:txBody>
      </p:sp>
    </p:spTree>
    <p:extLst>
      <p:ext uri="{BB962C8B-B14F-4D97-AF65-F5344CB8AC3E}">
        <p14:creationId xmlns:p14="http://schemas.microsoft.com/office/powerpoint/2010/main" val="2256317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out)">
                                      <p:cBhvr>
                                        <p:cTn id="7" dur="2000"/>
                                        <p:tgtEl>
                                          <p:spTgt spid="21"/>
                                        </p:tgtEl>
                                      </p:cBhvr>
                                    </p:animEffect>
                                  </p:childTnLst>
                                </p:cTn>
                              </p:par>
                              <p:par>
                                <p:cTn id="8" presetID="6" presetClass="entr" presetSubtype="32"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circle(out)">
                                      <p:cBhvr>
                                        <p:cTn id="10"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C614535-6D7A-C971-C897-3826FED28361}"/>
              </a:ext>
            </a:extLst>
          </p:cNvPr>
          <p:cNvGrpSpPr/>
          <p:nvPr/>
        </p:nvGrpSpPr>
        <p:grpSpPr>
          <a:xfrm>
            <a:off x="1862137" y="1287619"/>
            <a:ext cx="8648700" cy="4834791"/>
            <a:chOff x="1847851" y="1540032"/>
            <a:chExt cx="8648700" cy="4834791"/>
          </a:xfrm>
        </p:grpSpPr>
        <p:grpSp>
          <p:nvGrpSpPr>
            <p:cNvPr id="13" name="Group 12">
              <a:extLst>
                <a:ext uri="{FF2B5EF4-FFF2-40B4-BE49-F238E27FC236}">
                  <a16:creationId xmlns:a16="http://schemas.microsoft.com/office/drawing/2014/main" id="{824390B3-AC40-440B-A23F-FAAD1C2CDE3D}"/>
                </a:ext>
              </a:extLst>
            </p:cNvPr>
            <p:cNvGrpSpPr/>
            <p:nvPr/>
          </p:nvGrpSpPr>
          <p:grpSpPr>
            <a:xfrm>
              <a:off x="1847851" y="2086191"/>
              <a:ext cx="8648700" cy="4288632"/>
              <a:chOff x="1847851" y="2086191"/>
              <a:chExt cx="8648700" cy="4288632"/>
            </a:xfrm>
          </p:grpSpPr>
          <p:sp>
            <p:nvSpPr>
              <p:cNvPr id="4" name="Rectangle 3">
                <a:extLst>
                  <a:ext uri="{FF2B5EF4-FFF2-40B4-BE49-F238E27FC236}">
                    <a16:creationId xmlns:a16="http://schemas.microsoft.com/office/drawing/2014/main" id="{D028D92D-A303-D237-6A1C-6E19D9A5294B}"/>
                  </a:ext>
                </a:extLst>
              </p:cNvPr>
              <p:cNvSpPr>
                <a:spLocks noChangeArrowheads="1"/>
              </p:cNvSpPr>
              <p:nvPr/>
            </p:nvSpPr>
            <p:spPr bwMode="gray">
              <a:xfrm>
                <a:off x="4419601" y="2086192"/>
                <a:ext cx="5989637" cy="735013"/>
              </a:xfrm>
              <a:prstGeom prst="rect">
                <a:avLst/>
              </a:prstGeom>
              <a:gradFill rotWithShape="1">
                <a:gsLst>
                  <a:gs pos="0">
                    <a:schemeClr val="bg1">
                      <a:lumMod val="85000"/>
                    </a:schemeClr>
                  </a:gs>
                  <a:gs pos="100000">
                    <a:srgbClr val="EAEAEA">
                      <a:gamma/>
                      <a:tint val="0"/>
                      <a:invGamma/>
                    </a:srgbClr>
                  </a:gs>
                </a:gsLst>
                <a:lin ang="0" scaled="1"/>
              </a:gradFill>
              <a:ln w="12700">
                <a:noFill/>
                <a:miter lim="800000"/>
                <a:headEnd/>
                <a:tailEnd/>
              </a:ln>
              <a:effectLst/>
            </p:spPr>
            <p:txBody>
              <a:bodyPr lIns="540000" tIns="36000" rIns="36000" bIns="3600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Aft>
                    <a:spcPct val="20000"/>
                  </a:spcAft>
                </a:pPr>
                <a:r>
                  <a:rPr lang="en-US" sz="1400" noProof="1">
                    <a:latin typeface="+mj-lt"/>
                  </a:rPr>
                  <a:t>Formal definition of the purpose and activities of the internal audit</a:t>
                </a:r>
                <a:endParaRPr lang="fr-FR" sz="1400" noProof="1">
                  <a:latin typeface="+mj-lt"/>
                </a:endParaRPr>
              </a:p>
            </p:txBody>
          </p:sp>
          <p:sp>
            <p:nvSpPr>
              <p:cNvPr id="5" name="Rectangle 4">
                <a:extLst>
                  <a:ext uri="{FF2B5EF4-FFF2-40B4-BE49-F238E27FC236}">
                    <a16:creationId xmlns:a16="http://schemas.microsoft.com/office/drawing/2014/main" id="{092D4188-0D3E-CCA2-4F5C-4FD95539A6B7}"/>
                  </a:ext>
                </a:extLst>
              </p:cNvPr>
              <p:cNvSpPr>
                <a:spLocks noChangeArrowheads="1"/>
              </p:cNvSpPr>
              <p:nvPr/>
            </p:nvSpPr>
            <p:spPr bwMode="gray">
              <a:xfrm>
                <a:off x="4506914" y="2967254"/>
                <a:ext cx="5989637" cy="735012"/>
              </a:xfrm>
              <a:prstGeom prst="rect">
                <a:avLst/>
              </a:prstGeom>
              <a:gradFill rotWithShape="1">
                <a:gsLst>
                  <a:gs pos="0">
                    <a:srgbClr val="EAEAEA"/>
                  </a:gs>
                  <a:gs pos="100000">
                    <a:srgbClr val="EAEAEA">
                      <a:gamma/>
                      <a:tint val="0"/>
                      <a:invGamma/>
                    </a:srgbClr>
                  </a:gs>
                </a:gsLst>
                <a:lin ang="0" scaled="1"/>
              </a:gradFill>
              <a:ln w="12700">
                <a:noFill/>
                <a:miter lim="800000"/>
                <a:headEnd/>
                <a:tailEnd/>
              </a:ln>
              <a:effectLst/>
            </p:spPr>
            <p:txBody>
              <a:bodyPr lIns="864000" tIns="36000" rIns="36000" bIns="3600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Aft>
                    <a:spcPct val="20000"/>
                  </a:spcAft>
                </a:pPr>
                <a:r>
                  <a:rPr lang="en-US" sz="1400" noProof="1">
                    <a:latin typeface="+mj-lt"/>
                  </a:rPr>
                  <a:t>Formal definition of the scope and extent of internal audit</a:t>
                </a:r>
                <a:endParaRPr lang="fr-FR" sz="1400" noProof="1">
                  <a:latin typeface="+mj-lt"/>
                </a:endParaRPr>
              </a:p>
            </p:txBody>
          </p:sp>
          <p:sp>
            <p:nvSpPr>
              <p:cNvPr id="6" name="Rectangle 5">
                <a:extLst>
                  <a:ext uri="{FF2B5EF4-FFF2-40B4-BE49-F238E27FC236}">
                    <a16:creationId xmlns:a16="http://schemas.microsoft.com/office/drawing/2014/main" id="{E0C08C3F-9268-E695-6F94-E9C8E7BD9E76}"/>
                  </a:ext>
                </a:extLst>
              </p:cNvPr>
              <p:cNvSpPr>
                <a:spLocks noChangeArrowheads="1"/>
              </p:cNvSpPr>
              <p:nvPr/>
            </p:nvSpPr>
            <p:spPr bwMode="gray">
              <a:xfrm>
                <a:off x="4506914" y="3845142"/>
                <a:ext cx="5989637" cy="735013"/>
              </a:xfrm>
              <a:prstGeom prst="rect">
                <a:avLst/>
              </a:prstGeom>
              <a:gradFill>
                <a:gsLst>
                  <a:gs pos="0">
                    <a:schemeClr val="bg1">
                      <a:lumMod val="85000"/>
                    </a:schemeClr>
                  </a:gs>
                  <a:gs pos="100000">
                    <a:srgbClr val="EAEAEA">
                      <a:gamma/>
                      <a:tint val="0"/>
                      <a:invGamma/>
                    </a:srgbClr>
                  </a:gs>
                </a:gsLst>
                <a:lin ang="0" scaled="1"/>
              </a:gradFill>
              <a:ln w="12700">
                <a:noFill/>
                <a:miter lim="800000"/>
                <a:headEnd/>
                <a:tailEnd/>
              </a:ln>
              <a:effectLst/>
            </p:spPr>
            <p:txBody>
              <a:bodyPr lIns="1152000" tIns="36000" rIns="36000" bIns="3600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Aft>
                    <a:spcPct val="20000"/>
                  </a:spcAft>
                </a:pPr>
                <a:r>
                  <a:rPr lang="en-US" sz="1400" noProof="1">
                    <a:latin typeface="+mj-lt"/>
                  </a:rPr>
                  <a:t>Definition of responsibilities and services to be provided by the internal audit</a:t>
                </a:r>
                <a:endParaRPr lang="fr-FR" sz="1400" noProof="1">
                  <a:latin typeface="+mj-lt"/>
                </a:endParaRPr>
              </a:p>
            </p:txBody>
          </p:sp>
          <p:sp>
            <p:nvSpPr>
              <p:cNvPr id="7" name="Rectangle 6">
                <a:extLst>
                  <a:ext uri="{FF2B5EF4-FFF2-40B4-BE49-F238E27FC236}">
                    <a16:creationId xmlns:a16="http://schemas.microsoft.com/office/drawing/2014/main" id="{2F5108CB-3C95-DC48-770C-F17BBDC7538E}"/>
                  </a:ext>
                </a:extLst>
              </p:cNvPr>
              <p:cNvSpPr>
                <a:spLocks noChangeArrowheads="1"/>
              </p:cNvSpPr>
              <p:nvPr/>
            </p:nvSpPr>
            <p:spPr bwMode="gray">
              <a:xfrm>
                <a:off x="4506914" y="4723029"/>
                <a:ext cx="5989637" cy="735012"/>
              </a:xfrm>
              <a:prstGeom prst="rect">
                <a:avLst/>
              </a:prstGeom>
              <a:gradFill>
                <a:gsLst>
                  <a:gs pos="0">
                    <a:srgbClr val="EAEAEA"/>
                  </a:gs>
                  <a:gs pos="100000">
                    <a:srgbClr val="EAEAEA">
                      <a:gamma/>
                      <a:tint val="0"/>
                      <a:invGamma/>
                    </a:srgbClr>
                  </a:gs>
                </a:gsLst>
                <a:lin ang="0" scaled="1"/>
              </a:gradFill>
              <a:ln w="12700">
                <a:noFill/>
                <a:miter lim="800000"/>
                <a:headEnd/>
                <a:tailEnd/>
              </a:ln>
              <a:effectLst/>
            </p:spPr>
            <p:txBody>
              <a:bodyPr lIns="864000" tIns="36000" rIns="36000" bIns="3600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Aft>
                    <a:spcPct val="20000"/>
                  </a:spcAft>
                </a:pPr>
                <a:r>
                  <a:rPr lang="en-US" sz="1400" noProof="1">
                    <a:latin typeface="+mj-lt"/>
                  </a:rPr>
                  <a:t>Formal definition of the access authorization of Internal Auditors</a:t>
                </a:r>
                <a:endParaRPr lang="fr-FR" sz="1400" noProof="1">
                  <a:latin typeface="+mj-lt"/>
                </a:endParaRPr>
              </a:p>
            </p:txBody>
          </p:sp>
          <p:sp>
            <p:nvSpPr>
              <p:cNvPr id="8" name="Rectangle 7">
                <a:extLst>
                  <a:ext uri="{FF2B5EF4-FFF2-40B4-BE49-F238E27FC236}">
                    <a16:creationId xmlns:a16="http://schemas.microsoft.com/office/drawing/2014/main" id="{8BA56B19-01D6-123A-EC23-606D61AE976A}"/>
                  </a:ext>
                </a:extLst>
              </p:cNvPr>
              <p:cNvSpPr>
                <a:spLocks noChangeArrowheads="1"/>
              </p:cNvSpPr>
              <p:nvPr/>
            </p:nvSpPr>
            <p:spPr bwMode="gray">
              <a:xfrm>
                <a:off x="4314826" y="5574723"/>
                <a:ext cx="6181725" cy="800100"/>
              </a:xfrm>
              <a:prstGeom prst="rect">
                <a:avLst/>
              </a:prstGeom>
              <a:gradFill>
                <a:gsLst>
                  <a:gs pos="0">
                    <a:schemeClr val="bg1">
                      <a:lumMod val="85000"/>
                    </a:schemeClr>
                  </a:gs>
                  <a:gs pos="100000">
                    <a:srgbClr val="EAEAEA">
                      <a:gamma/>
                      <a:tint val="0"/>
                      <a:invGamma/>
                    </a:srgbClr>
                  </a:gs>
                </a:gsLst>
                <a:lin ang="0" scaled="1"/>
              </a:gradFill>
              <a:ln w="12700">
                <a:noFill/>
                <a:miter lim="800000"/>
                <a:headEnd/>
                <a:tailEnd/>
              </a:ln>
              <a:effectLst/>
            </p:spPr>
            <p:txBody>
              <a:bodyPr lIns="540000" tIns="36000" rIns="36000" bIns="36000" anchor="ct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nSpc>
                    <a:spcPct val="90000"/>
                  </a:lnSpc>
                  <a:spcAft>
                    <a:spcPts val="0"/>
                  </a:spcAft>
                </a:pPr>
                <a:r>
                  <a:rPr lang="en-US" sz="1400" noProof="1">
                    <a:latin typeface="+mj-lt"/>
                  </a:rPr>
                  <a:t>   Establishing the independence of the internal audit</a:t>
                </a:r>
                <a:endParaRPr lang="fr-FR" sz="1400" noProof="1">
                  <a:latin typeface="+mj-lt"/>
                </a:endParaRPr>
              </a:p>
            </p:txBody>
          </p:sp>
          <p:sp>
            <p:nvSpPr>
              <p:cNvPr id="9" name="AutoShape 14">
                <a:extLst>
                  <a:ext uri="{FF2B5EF4-FFF2-40B4-BE49-F238E27FC236}">
                    <a16:creationId xmlns:a16="http://schemas.microsoft.com/office/drawing/2014/main" id="{78D98FF9-4102-EB50-D640-9ABDBE0209D6}"/>
                  </a:ext>
                </a:extLst>
              </p:cNvPr>
              <p:cNvSpPr>
                <a:spLocks noChangeArrowheads="1"/>
              </p:cNvSpPr>
              <p:nvPr/>
            </p:nvSpPr>
            <p:spPr bwMode="gray">
              <a:xfrm>
                <a:off x="1847851" y="2086191"/>
                <a:ext cx="3402013" cy="4249738"/>
              </a:xfrm>
              <a:prstGeom prst="homePlate">
                <a:avLst>
                  <a:gd name="adj" fmla="val 25000"/>
                </a:avLst>
              </a:prstGeom>
              <a:solidFill>
                <a:srgbClr val="801619"/>
              </a:solidFill>
              <a:ln w="12700">
                <a:solidFill>
                  <a:srgbClr val="DDDDDD"/>
                </a:solidFill>
                <a:miter lim="800000"/>
                <a:headEnd/>
                <a:tailEnd/>
              </a:ln>
              <a:effectLst>
                <a:outerShdw dist="53882" dir="2700000" algn="ctr" rotWithShape="0">
                  <a:srgbClr val="808080">
                    <a:alpha val="50000"/>
                  </a:srgbClr>
                </a:outerShdw>
              </a:effectLst>
            </p:spPr>
            <p:txBody>
              <a:bodyPr lIns="288000" tIns="36000" rIns="36000" bIns="36000" anchor="ctr"/>
              <a:lstStyle/>
              <a:p>
                <a:pPr>
                  <a:spcAft>
                    <a:spcPct val="20000"/>
                  </a:spcAft>
                </a:pPr>
                <a:r>
                  <a:rPr lang="en-US" sz="3200" b="1" noProof="1">
                    <a:solidFill>
                      <a:schemeClr val="bg1"/>
                    </a:solidFill>
                  </a:rPr>
                  <a:t>Structure</a:t>
                </a:r>
              </a:p>
              <a:p>
                <a:pPr>
                  <a:spcAft>
                    <a:spcPct val="20000"/>
                  </a:spcAft>
                </a:pPr>
                <a:r>
                  <a:rPr lang="en-US" sz="3200" b="1" noProof="1">
                    <a:solidFill>
                      <a:schemeClr val="bg1"/>
                    </a:solidFill>
                  </a:rPr>
                  <a:t>of the</a:t>
                </a:r>
              </a:p>
              <a:p>
                <a:pPr>
                  <a:spcAft>
                    <a:spcPct val="20000"/>
                  </a:spcAft>
                </a:pPr>
                <a:r>
                  <a:rPr lang="en-US" sz="3200" b="1" noProof="1">
                    <a:solidFill>
                      <a:schemeClr val="bg1"/>
                    </a:solidFill>
                  </a:rPr>
                  <a:t>Audit</a:t>
                </a:r>
              </a:p>
              <a:p>
                <a:pPr>
                  <a:spcAft>
                    <a:spcPct val="20000"/>
                  </a:spcAft>
                </a:pPr>
                <a:r>
                  <a:rPr lang="en-US" sz="3200" b="1" noProof="1">
                    <a:solidFill>
                      <a:schemeClr val="bg1"/>
                    </a:solidFill>
                  </a:rPr>
                  <a:t>Charter</a:t>
                </a:r>
                <a:endParaRPr lang="fr-FR" sz="3200" b="1" noProof="1">
                  <a:solidFill>
                    <a:schemeClr val="bg1"/>
                  </a:solidFill>
                </a:endParaRPr>
              </a:p>
            </p:txBody>
          </p:sp>
        </p:grpSp>
        <p:sp>
          <p:nvSpPr>
            <p:cNvPr id="11" name="TextBox 10">
              <a:extLst>
                <a:ext uri="{FF2B5EF4-FFF2-40B4-BE49-F238E27FC236}">
                  <a16:creationId xmlns:a16="http://schemas.microsoft.com/office/drawing/2014/main" id="{0C8A64A5-9B47-D582-17BF-3E4DD41BC469}"/>
                </a:ext>
              </a:extLst>
            </p:cNvPr>
            <p:cNvSpPr txBox="1"/>
            <p:nvPr/>
          </p:nvSpPr>
          <p:spPr>
            <a:xfrm>
              <a:off x="1847851" y="1540032"/>
              <a:ext cx="4706282" cy="400110"/>
            </a:xfrm>
            <a:prstGeom prst="rect">
              <a:avLst/>
            </a:prstGeom>
            <a:noFill/>
          </p:spPr>
          <p:txBody>
            <a:bodyPr wrap="square">
              <a:spAutoFit/>
            </a:bodyPr>
            <a:lstStyle/>
            <a:p>
              <a:r>
                <a:rPr lang="en-US" sz="2000" b="1" dirty="0"/>
                <a:t>Audit Charter</a:t>
              </a:r>
            </a:p>
          </p:txBody>
        </p:sp>
      </p:grpSp>
      <p:sp>
        <p:nvSpPr>
          <p:cNvPr id="12" name="TextBox 11">
            <a:extLst>
              <a:ext uri="{FF2B5EF4-FFF2-40B4-BE49-F238E27FC236}">
                <a16:creationId xmlns:a16="http://schemas.microsoft.com/office/drawing/2014/main" id="{F6EEFD82-517E-EE2B-1E08-F35C8F67B3A5}"/>
              </a:ext>
            </a:extLst>
          </p:cNvPr>
          <p:cNvSpPr txBox="1"/>
          <p:nvPr/>
        </p:nvSpPr>
        <p:spPr>
          <a:xfrm>
            <a:off x="751549" y="773042"/>
            <a:ext cx="10345076" cy="477054"/>
          </a:xfrm>
          <a:prstGeom prst="rect">
            <a:avLst/>
          </a:prstGeom>
          <a:noFill/>
        </p:spPr>
        <p:txBody>
          <a:bodyPr wrap="square">
            <a:spAutoFit/>
          </a:bodyPr>
          <a:lstStyle/>
          <a:p>
            <a:r>
              <a:rPr lang="en-US" sz="2500" b="1" dirty="0">
                <a:solidFill>
                  <a:srgbClr val="801619"/>
                </a:solidFill>
              </a:rPr>
              <a:t>Establishing the Independence, Objectivity, and Impartiality</a:t>
            </a:r>
          </a:p>
        </p:txBody>
      </p:sp>
    </p:spTree>
    <p:extLst>
      <p:ext uri="{BB962C8B-B14F-4D97-AF65-F5344CB8AC3E}">
        <p14:creationId xmlns:p14="http://schemas.microsoft.com/office/powerpoint/2010/main" val="2498661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6" presetClass="entr" presetSubtype="16"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ircle(in)">
                                      <p:cBhvr>
                                        <p:cTn id="10"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56D34C72-2DC6-79DA-5B5A-B9FC2AB34010}"/>
              </a:ext>
            </a:extLst>
          </p:cNvPr>
          <p:cNvGrpSpPr/>
          <p:nvPr/>
        </p:nvGrpSpPr>
        <p:grpSpPr>
          <a:xfrm>
            <a:off x="5747042" y="1184285"/>
            <a:ext cx="3378785" cy="4902989"/>
            <a:chOff x="6333386" y="1421612"/>
            <a:chExt cx="3378785" cy="4902989"/>
          </a:xfrm>
        </p:grpSpPr>
        <p:cxnSp>
          <p:nvCxnSpPr>
            <p:cNvPr id="3" name="Connecteur droit avec flèche 16">
              <a:extLst>
                <a:ext uri="{FF2B5EF4-FFF2-40B4-BE49-F238E27FC236}">
                  <a16:creationId xmlns:a16="http://schemas.microsoft.com/office/drawing/2014/main" id="{43165DE4-BA1B-A8BD-60CE-AE2611E9789C}"/>
                </a:ext>
              </a:extLst>
            </p:cNvPr>
            <p:cNvCxnSpPr>
              <a:cxnSpLocks/>
            </p:cNvCxnSpPr>
            <p:nvPr/>
          </p:nvCxnSpPr>
          <p:spPr>
            <a:xfrm flipH="1">
              <a:off x="8163630" y="1828800"/>
              <a:ext cx="144" cy="2072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avec flèche 20">
              <a:extLst>
                <a:ext uri="{FF2B5EF4-FFF2-40B4-BE49-F238E27FC236}">
                  <a16:creationId xmlns:a16="http://schemas.microsoft.com/office/drawing/2014/main" id="{39880BB6-C058-3E4C-AF60-F43410228FFD}"/>
                </a:ext>
              </a:extLst>
            </p:cNvPr>
            <p:cNvCxnSpPr>
              <a:cxnSpLocks/>
            </p:cNvCxnSpPr>
            <p:nvPr/>
          </p:nvCxnSpPr>
          <p:spPr>
            <a:xfrm flipH="1">
              <a:off x="8163630" y="3057525"/>
              <a:ext cx="144" cy="2072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Connecteur droit avec flèche 21">
              <a:extLst>
                <a:ext uri="{FF2B5EF4-FFF2-40B4-BE49-F238E27FC236}">
                  <a16:creationId xmlns:a16="http://schemas.microsoft.com/office/drawing/2014/main" id="{1E96B733-4318-3E19-6B9B-3932E7854B23}"/>
                </a:ext>
              </a:extLst>
            </p:cNvPr>
            <p:cNvCxnSpPr>
              <a:cxnSpLocks/>
            </p:cNvCxnSpPr>
            <p:nvPr/>
          </p:nvCxnSpPr>
          <p:spPr>
            <a:xfrm>
              <a:off x="7979306" y="3535680"/>
              <a:ext cx="0" cy="12822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eur droit avec flèche 23">
              <a:extLst>
                <a:ext uri="{FF2B5EF4-FFF2-40B4-BE49-F238E27FC236}">
                  <a16:creationId xmlns:a16="http://schemas.microsoft.com/office/drawing/2014/main" id="{0BCA64A7-808E-E2BF-9416-2B96A4F8A72B}"/>
                </a:ext>
              </a:extLst>
            </p:cNvPr>
            <p:cNvCxnSpPr>
              <a:cxnSpLocks/>
            </p:cNvCxnSpPr>
            <p:nvPr/>
          </p:nvCxnSpPr>
          <p:spPr>
            <a:xfrm flipH="1">
              <a:off x="8163630" y="4419600"/>
              <a:ext cx="144" cy="2072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eur droit avec flèche 24">
              <a:extLst>
                <a:ext uri="{FF2B5EF4-FFF2-40B4-BE49-F238E27FC236}">
                  <a16:creationId xmlns:a16="http://schemas.microsoft.com/office/drawing/2014/main" id="{0A3B30EC-4C41-1222-E1AB-BCA234B47708}"/>
                </a:ext>
              </a:extLst>
            </p:cNvPr>
            <p:cNvCxnSpPr>
              <a:cxnSpLocks/>
            </p:cNvCxnSpPr>
            <p:nvPr/>
          </p:nvCxnSpPr>
          <p:spPr>
            <a:xfrm>
              <a:off x="7979306" y="4907280"/>
              <a:ext cx="0" cy="12822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25">
              <a:extLst>
                <a:ext uri="{FF2B5EF4-FFF2-40B4-BE49-F238E27FC236}">
                  <a16:creationId xmlns:a16="http://schemas.microsoft.com/office/drawing/2014/main" id="{604D09DB-4F87-0DA4-52FA-093EC328E388}"/>
                </a:ext>
              </a:extLst>
            </p:cNvPr>
            <p:cNvCxnSpPr>
              <a:cxnSpLocks/>
            </p:cNvCxnSpPr>
            <p:nvPr/>
          </p:nvCxnSpPr>
          <p:spPr>
            <a:xfrm flipH="1">
              <a:off x="8163630" y="5562600"/>
              <a:ext cx="144" cy="20729"/>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Hexagone 3">
              <a:extLst>
                <a:ext uri="{FF2B5EF4-FFF2-40B4-BE49-F238E27FC236}">
                  <a16:creationId xmlns:a16="http://schemas.microsoft.com/office/drawing/2014/main" id="{1A97DF1B-4D19-0502-10E0-F0D5B2314589}"/>
                </a:ext>
              </a:extLst>
            </p:cNvPr>
            <p:cNvSpPr/>
            <p:nvPr/>
          </p:nvSpPr>
          <p:spPr>
            <a:xfrm>
              <a:off x="6333386" y="1421612"/>
              <a:ext cx="3378785" cy="407187"/>
            </a:xfrm>
            <a:prstGeom prst="hexagon">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bg1"/>
                  </a:solidFill>
                  <a:latin typeface="+mj-lt"/>
                  <a:cs typeface="Arial" pitchFamily="34" charset="0"/>
                </a:rPr>
                <a:t>Source of information</a:t>
              </a:r>
            </a:p>
          </p:txBody>
        </p:sp>
        <p:sp>
          <p:nvSpPr>
            <p:cNvPr id="10" name="Rectangle 9">
              <a:extLst>
                <a:ext uri="{FF2B5EF4-FFF2-40B4-BE49-F238E27FC236}">
                  <a16:creationId xmlns:a16="http://schemas.microsoft.com/office/drawing/2014/main" id="{929AC488-5FB9-DB2C-848D-47970C26014F}"/>
                </a:ext>
              </a:extLst>
            </p:cNvPr>
            <p:cNvSpPr/>
            <p:nvPr/>
          </p:nvSpPr>
          <p:spPr>
            <a:xfrm>
              <a:off x="6485786" y="2216296"/>
              <a:ext cx="3118878" cy="831703"/>
            </a:xfrm>
            <a:prstGeom prst="rect">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bg1"/>
                  </a:solidFill>
                  <a:latin typeface="+mj-lt"/>
                  <a:cs typeface="Arial" pitchFamily="34" charset="0"/>
                </a:rPr>
                <a:t>Use of appropriate  </a:t>
              </a:r>
            </a:p>
            <a:p>
              <a:pPr algn="ctr">
                <a:defRPr/>
              </a:pPr>
              <a:r>
                <a:rPr lang="en-CA" sz="1400" b="1" dirty="0">
                  <a:solidFill>
                    <a:schemeClr val="bg1"/>
                  </a:solidFill>
                  <a:latin typeface="+mj-lt"/>
                  <a:cs typeface="Arial" pitchFamily="34" charset="0"/>
                </a:rPr>
                <a:t>audit procedures including sampling</a:t>
              </a:r>
            </a:p>
          </p:txBody>
        </p:sp>
        <p:sp>
          <p:nvSpPr>
            <p:cNvPr id="11" name="Rectangle 10">
              <a:extLst>
                <a:ext uri="{FF2B5EF4-FFF2-40B4-BE49-F238E27FC236}">
                  <a16:creationId xmlns:a16="http://schemas.microsoft.com/office/drawing/2014/main" id="{54217B08-8496-3801-DB16-43E71F939C10}"/>
                </a:ext>
              </a:extLst>
            </p:cNvPr>
            <p:cNvSpPr/>
            <p:nvPr/>
          </p:nvSpPr>
          <p:spPr>
            <a:xfrm>
              <a:off x="6547700" y="5155414"/>
              <a:ext cx="2988925" cy="407187"/>
            </a:xfrm>
            <a:prstGeom prst="rect">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bg1"/>
                  </a:solidFill>
                  <a:latin typeface="+mj-lt"/>
                  <a:cs typeface="Arial" pitchFamily="34" charset="0"/>
                </a:rPr>
                <a:t>Review</a:t>
              </a:r>
            </a:p>
          </p:txBody>
        </p:sp>
        <p:sp>
          <p:nvSpPr>
            <p:cNvPr id="12" name="Rectangle 11">
              <a:extLst>
                <a:ext uri="{FF2B5EF4-FFF2-40B4-BE49-F238E27FC236}">
                  <a16:creationId xmlns:a16="http://schemas.microsoft.com/office/drawing/2014/main" id="{7014E999-9318-55B1-D59E-230AEDA12A9F}"/>
                </a:ext>
              </a:extLst>
            </p:cNvPr>
            <p:cNvSpPr/>
            <p:nvPr/>
          </p:nvSpPr>
          <p:spPr>
            <a:xfrm>
              <a:off x="6485787" y="3302349"/>
              <a:ext cx="2988925" cy="1631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tx1"/>
                  </a:solidFill>
                  <a:latin typeface="+mj-lt"/>
                  <a:cs typeface="Arial" pitchFamily="34" charset="0"/>
                </a:rPr>
                <a:t>Audit evidence</a:t>
              </a:r>
            </a:p>
          </p:txBody>
        </p:sp>
        <p:sp>
          <p:nvSpPr>
            <p:cNvPr id="13" name="Hexagone 8">
              <a:extLst>
                <a:ext uri="{FF2B5EF4-FFF2-40B4-BE49-F238E27FC236}">
                  <a16:creationId xmlns:a16="http://schemas.microsoft.com/office/drawing/2014/main" id="{E943B29D-1497-1C23-A000-1FDC9BFDB8F4}"/>
                </a:ext>
              </a:extLst>
            </p:cNvPr>
            <p:cNvSpPr/>
            <p:nvPr/>
          </p:nvSpPr>
          <p:spPr>
            <a:xfrm>
              <a:off x="6333386" y="5917414"/>
              <a:ext cx="3378785" cy="407187"/>
            </a:xfrm>
            <a:prstGeom prst="hexagon">
              <a:avLst/>
            </a:prstGeom>
            <a:solidFill>
              <a:schemeClr val="tx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bg1"/>
                  </a:solidFill>
                  <a:latin typeface="+mj-lt"/>
                  <a:cs typeface="Arial" pitchFamily="34" charset="0"/>
                </a:rPr>
                <a:t>Audit conclusion</a:t>
              </a:r>
            </a:p>
          </p:txBody>
        </p:sp>
        <p:sp>
          <p:nvSpPr>
            <p:cNvPr id="14" name="Rectangle 13">
              <a:extLst>
                <a:ext uri="{FF2B5EF4-FFF2-40B4-BE49-F238E27FC236}">
                  <a16:creationId xmlns:a16="http://schemas.microsoft.com/office/drawing/2014/main" id="{48E9AFC4-06EC-584F-BC85-BA3C97F9C961}"/>
                </a:ext>
              </a:extLst>
            </p:cNvPr>
            <p:cNvSpPr/>
            <p:nvPr/>
          </p:nvSpPr>
          <p:spPr>
            <a:xfrm>
              <a:off x="6547700" y="4713638"/>
              <a:ext cx="2988925" cy="1631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tx1"/>
                  </a:solidFill>
                  <a:latin typeface="+mj-lt"/>
                  <a:cs typeface="Arial" pitchFamily="34" charset="0"/>
                </a:rPr>
                <a:t>Audit findings</a:t>
              </a:r>
            </a:p>
          </p:txBody>
        </p:sp>
        <p:sp>
          <p:nvSpPr>
            <p:cNvPr id="15" name="Rectangle 14">
              <a:extLst>
                <a:ext uri="{FF2B5EF4-FFF2-40B4-BE49-F238E27FC236}">
                  <a16:creationId xmlns:a16="http://schemas.microsoft.com/office/drawing/2014/main" id="{49A67487-8AC6-41D6-0744-2A7CA4BF6CFB}"/>
                </a:ext>
              </a:extLst>
            </p:cNvPr>
            <p:cNvSpPr/>
            <p:nvPr/>
          </p:nvSpPr>
          <p:spPr>
            <a:xfrm>
              <a:off x="6485786" y="3795824"/>
              <a:ext cx="3118878" cy="623776"/>
            </a:xfrm>
            <a:prstGeom prst="rect">
              <a:avLst/>
            </a:prstGeom>
            <a:solidFill>
              <a:srgbClr val="80161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CA" sz="1400" b="1" dirty="0">
                  <a:solidFill>
                    <a:schemeClr val="bg1"/>
                  </a:solidFill>
                  <a:latin typeface="+mj-lt"/>
                  <a:cs typeface="Arial" pitchFamily="34" charset="0"/>
                </a:rPr>
                <a:t>Evaluation against audit criteria</a:t>
              </a:r>
            </a:p>
          </p:txBody>
        </p:sp>
      </p:grpSp>
      <p:sp>
        <p:nvSpPr>
          <p:cNvPr id="16" name="TextBox 15">
            <a:extLst>
              <a:ext uri="{FF2B5EF4-FFF2-40B4-BE49-F238E27FC236}">
                <a16:creationId xmlns:a16="http://schemas.microsoft.com/office/drawing/2014/main" id="{D95D19D1-1610-32FA-F765-2C4588F168DD}"/>
              </a:ext>
            </a:extLst>
          </p:cNvPr>
          <p:cNvSpPr txBox="1"/>
          <p:nvPr/>
        </p:nvSpPr>
        <p:spPr>
          <a:xfrm>
            <a:off x="1023542" y="2389285"/>
            <a:ext cx="2988925" cy="1938992"/>
          </a:xfrm>
          <a:prstGeom prst="rect">
            <a:avLst/>
          </a:prstGeom>
          <a:noFill/>
        </p:spPr>
        <p:txBody>
          <a:bodyPr wrap="square">
            <a:spAutoFit/>
          </a:bodyPr>
          <a:lstStyle/>
          <a:p>
            <a:r>
              <a:rPr lang="en-US" sz="4000" b="1" dirty="0">
                <a:solidFill>
                  <a:srgbClr val="801619"/>
                </a:solidFill>
              </a:rPr>
              <a:t>Perform</a:t>
            </a:r>
          </a:p>
          <a:p>
            <a:r>
              <a:rPr lang="en-US" sz="4000" b="1" dirty="0">
                <a:solidFill>
                  <a:srgbClr val="801619"/>
                </a:solidFill>
              </a:rPr>
              <a:t>Audit</a:t>
            </a:r>
          </a:p>
          <a:p>
            <a:r>
              <a:rPr lang="en-US" sz="4000" b="1" dirty="0">
                <a:solidFill>
                  <a:srgbClr val="801619"/>
                </a:solidFill>
              </a:rPr>
              <a:t>Activities</a:t>
            </a:r>
          </a:p>
        </p:txBody>
      </p:sp>
    </p:spTree>
    <p:extLst>
      <p:ext uri="{BB962C8B-B14F-4D97-AF65-F5344CB8AC3E}">
        <p14:creationId xmlns:p14="http://schemas.microsoft.com/office/powerpoint/2010/main" val="383377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1000" fill="hold"/>
                                        <p:tgtEl>
                                          <p:spTgt spid="29"/>
                                        </p:tgtEl>
                                        <p:attrNameLst>
                                          <p:attrName>ppt_x</p:attrName>
                                        </p:attrNameLst>
                                      </p:cBhvr>
                                      <p:tavLst>
                                        <p:tav tm="0">
                                          <p:val>
                                            <p:strVal val="1+#ppt_w/2"/>
                                          </p:val>
                                        </p:tav>
                                        <p:tav tm="100000">
                                          <p:val>
                                            <p:strVal val="#ppt_x"/>
                                          </p:val>
                                        </p:tav>
                                      </p:tavLst>
                                    </p:anim>
                                    <p:anim calcmode="lin" valueType="num">
                                      <p:cBhvr additive="base">
                                        <p:cTn id="12" dur="10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7">
            <a:extLst>
              <a:ext uri="{FF2B5EF4-FFF2-40B4-BE49-F238E27FC236}">
                <a16:creationId xmlns:a16="http://schemas.microsoft.com/office/drawing/2014/main" id="{90C6029E-1C02-E771-DD4D-28089D21FFAB}"/>
              </a:ext>
            </a:extLst>
          </p:cNvPr>
          <p:cNvSpPr txBox="1">
            <a:spLocks/>
          </p:cNvSpPr>
          <p:nvPr/>
        </p:nvSpPr>
        <p:spPr>
          <a:xfrm>
            <a:off x="1597980" y="2260321"/>
            <a:ext cx="7590408" cy="3035586"/>
          </a:xfr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600"/>
              </a:spcBef>
              <a:buSzPct val="80000"/>
              <a:buFont typeface="Wingdings" panose="05000000000000000000" pitchFamily="2" charset="2"/>
              <a:buChar char="§"/>
            </a:pPr>
            <a:r>
              <a:rPr lang="en-US" sz="1200" dirty="0">
                <a:latin typeface="+mj-lt"/>
                <a:cs typeface="Arial" charset="0"/>
              </a:rPr>
              <a:t>Auditors should follow up on action plans submitted in response to findings (resulting from internal and external audits).</a:t>
            </a:r>
          </a:p>
          <a:p>
            <a:pPr marL="0" indent="0" algn="just">
              <a:spcBef>
                <a:spcPts val="600"/>
              </a:spcBef>
              <a:buSzPct val="80000"/>
              <a:buNone/>
            </a:pPr>
            <a:endParaRPr lang="en-US" sz="1200" dirty="0">
              <a:latin typeface="+mj-lt"/>
              <a:cs typeface="Arial" charset="0"/>
            </a:endParaRPr>
          </a:p>
          <a:p>
            <a:pPr algn="just">
              <a:spcBef>
                <a:spcPts val="600"/>
              </a:spcBef>
              <a:buSzPct val="80000"/>
              <a:buFont typeface="Wingdings" panose="05000000000000000000" pitchFamily="2" charset="2"/>
              <a:buChar char="§"/>
            </a:pPr>
            <a:r>
              <a:rPr lang="en-US" sz="1200" dirty="0">
                <a:latin typeface="+mj-lt"/>
                <a:cs typeface="Arial" charset="0"/>
              </a:rPr>
              <a:t>The person in charge of the SEMS must inform the auditor of the progress of corrective actions.</a:t>
            </a:r>
          </a:p>
          <a:p>
            <a:pPr marL="0" indent="0" algn="just">
              <a:spcBef>
                <a:spcPts val="600"/>
              </a:spcBef>
              <a:buSzPct val="80000"/>
              <a:buNone/>
            </a:pPr>
            <a:endParaRPr lang="en-US" sz="1200" dirty="0">
              <a:latin typeface="+mj-lt"/>
              <a:cs typeface="Arial" charset="0"/>
            </a:endParaRPr>
          </a:p>
          <a:p>
            <a:pPr algn="just">
              <a:spcBef>
                <a:spcPts val="600"/>
              </a:spcBef>
              <a:buSzPct val="80000"/>
              <a:buFont typeface="Wingdings" panose="05000000000000000000" pitchFamily="2" charset="2"/>
              <a:buChar char="§"/>
            </a:pPr>
            <a:r>
              <a:rPr lang="en-US" sz="1200" dirty="0">
                <a:latin typeface="+mj-lt"/>
                <a:cs typeface="Arial" charset="0"/>
              </a:rPr>
              <a:t>The role of the auditor is limited to </a:t>
            </a:r>
            <a:r>
              <a:rPr lang="en-US" sz="1200">
                <a:latin typeface="+mj-lt"/>
                <a:cs typeface="Arial" charset="0"/>
              </a:rPr>
              <a:t>validating</a:t>
            </a:r>
            <a:r>
              <a:rPr lang="en-US" sz="1200" dirty="0">
                <a:latin typeface="+mj-lt"/>
                <a:cs typeface="Arial" charset="0"/>
              </a:rPr>
              <a:t> the action plans and corrective actions.</a:t>
            </a:r>
          </a:p>
          <a:p>
            <a:pPr marL="0" indent="0" algn="just">
              <a:spcBef>
                <a:spcPts val="600"/>
              </a:spcBef>
              <a:buSzPct val="80000"/>
              <a:buNone/>
            </a:pPr>
            <a:endParaRPr lang="en-US" sz="1200" dirty="0">
              <a:latin typeface="+mj-lt"/>
              <a:cs typeface="Arial" charset="0"/>
            </a:endParaRPr>
          </a:p>
          <a:p>
            <a:pPr algn="just">
              <a:spcBef>
                <a:spcPts val="600"/>
              </a:spcBef>
              <a:buSzPct val="80000"/>
              <a:buFont typeface="Wingdings" panose="05000000000000000000" pitchFamily="2" charset="2"/>
              <a:buChar char="§"/>
            </a:pPr>
            <a:r>
              <a:rPr lang="en-US" sz="1200" dirty="0">
                <a:latin typeface="+mj-lt"/>
                <a:cs typeface="Arial" charset="0"/>
              </a:rPr>
              <a:t>Corrective actions do not all have to be implemented immediately.</a:t>
            </a:r>
          </a:p>
          <a:p>
            <a:pPr>
              <a:buFont typeface="Wingdings" panose="05000000000000000000" pitchFamily="2" charset="2"/>
              <a:buChar char="§"/>
            </a:pPr>
            <a:endParaRPr lang="fr-FR" sz="1200" dirty="0">
              <a:latin typeface="+mj-lt"/>
            </a:endParaRPr>
          </a:p>
        </p:txBody>
      </p:sp>
      <p:sp>
        <p:nvSpPr>
          <p:cNvPr id="4" name="TextBox 3">
            <a:extLst>
              <a:ext uri="{FF2B5EF4-FFF2-40B4-BE49-F238E27FC236}">
                <a16:creationId xmlns:a16="http://schemas.microsoft.com/office/drawing/2014/main" id="{7DCC16AB-19BE-29DE-81BA-F2F79B2E35EB}"/>
              </a:ext>
            </a:extLst>
          </p:cNvPr>
          <p:cNvSpPr txBox="1"/>
          <p:nvPr/>
        </p:nvSpPr>
        <p:spPr>
          <a:xfrm>
            <a:off x="1248700" y="1745825"/>
            <a:ext cx="4706282" cy="400110"/>
          </a:xfrm>
          <a:prstGeom prst="rect">
            <a:avLst/>
          </a:prstGeom>
          <a:noFill/>
        </p:spPr>
        <p:txBody>
          <a:bodyPr wrap="square">
            <a:spAutoFit/>
          </a:bodyPr>
          <a:lstStyle/>
          <a:p>
            <a:r>
              <a:rPr lang="en-US" sz="2000" b="1" dirty="0"/>
              <a:t>Guidelines</a:t>
            </a:r>
          </a:p>
        </p:txBody>
      </p:sp>
      <p:sp>
        <p:nvSpPr>
          <p:cNvPr id="5" name="TextBox 4">
            <a:extLst>
              <a:ext uri="{FF2B5EF4-FFF2-40B4-BE49-F238E27FC236}">
                <a16:creationId xmlns:a16="http://schemas.microsoft.com/office/drawing/2014/main" id="{7EC514B3-42F6-5E06-34A5-18F2C3454F4B}"/>
              </a:ext>
            </a:extLst>
          </p:cNvPr>
          <p:cNvSpPr txBox="1"/>
          <p:nvPr/>
        </p:nvSpPr>
        <p:spPr>
          <a:xfrm>
            <a:off x="751549" y="892864"/>
            <a:ext cx="10150230" cy="477054"/>
          </a:xfrm>
          <a:prstGeom prst="rect">
            <a:avLst/>
          </a:prstGeom>
          <a:noFill/>
        </p:spPr>
        <p:txBody>
          <a:bodyPr wrap="square">
            <a:spAutoFit/>
          </a:bodyPr>
          <a:lstStyle/>
          <a:p>
            <a:r>
              <a:rPr lang="en-US" sz="2500" b="1" dirty="0">
                <a:solidFill>
                  <a:srgbClr val="801619"/>
                </a:solidFill>
              </a:rPr>
              <a:t>Follow-up of findings</a:t>
            </a:r>
          </a:p>
        </p:txBody>
      </p:sp>
    </p:spTree>
    <p:extLst>
      <p:ext uri="{BB962C8B-B14F-4D97-AF65-F5344CB8AC3E}">
        <p14:creationId xmlns:p14="http://schemas.microsoft.com/office/powerpoint/2010/main" val="292186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ircle(out)">
                                      <p:cBhvr>
                                        <p:cTn id="7" dur="2000"/>
                                        <p:tgtEl>
                                          <p:spTgt spid="5"/>
                                        </p:tgtEl>
                                      </p:cBhvr>
                                    </p:animEffect>
                                  </p:childTnLst>
                                </p:cTn>
                              </p:par>
                              <p:par>
                                <p:cTn id="8" presetID="42" presetClass="entr" presetSubtype="0" fill="hold" grpId="0" nodeType="withEffect">
                                  <p:stCondLst>
                                    <p:cond delay="17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94107FC-082D-4E89-8136-9588E6158E28}"/>
              </a:ext>
            </a:extLst>
          </p:cNvPr>
          <p:cNvSpPr txBox="1"/>
          <p:nvPr/>
        </p:nvSpPr>
        <p:spPr>
          <a:xfrm>
            <a:off x="1049967" y="979131"/>
            <a:ext cx="8466442" cy="954107"/>
          </a:xfrm>
          <a:prstGeom prst="rect">
            <a:avLst/>
          </a:prstGeom>
          <a:noFill/>
        </p:spPr>
        <p:txBody>
          <a:bodyPr wrap="square" rtlCol="0">
            <a:spAutoFit/>
          </a:bodyPr>
          <a:lstStyle/>
          <a:p>
            <a:r>
              <a:rPr lang="en-US" sz="2800" b="1" dirty="0">
                <a:latin typeface="+mj-lt"/>
              </a:rPr>
              <a:t>What areas should an events sustainability auditor focus on?</a:t>
            </a:r>
            <a:endParaRPr lang="en-ID" sz="2800" b="1" dirty="0">
              <a:solidFill>
                <a:srgbClr val="8E0000"/>
              </a:solidFill>
              <a:latin typeface="+mj-lt"/>
            </a:endParaRPr>
          </a:p>
        </p:txBody>
      </p:sp>
      <p:sp>
        <p:nvSpPr>
          <p:cNvPr id="5" name="TextBox 4">
            <a:extLst>
              <a:ext uri="{FF2B5EF4-FFF2-40B4-BE49-F238E27FC236}">
                <a16:creationId xmlns:a16="http://schemas.microsoft.com/office/drawing/2014/main" id="{78F33552-946A-7B99-27B2-1C48F5B6A36D}"/>
              </a:ext>
            </a:extLst>
          </p:cNvPr>
          <p:cNvSpPr txBox="1"/>
          <p:nvPr/>
        </p:nvSpPr>
        <p:spPr>
          <a:xfrm>
            <a:off x="1141616" y="2154940"/>
            <a:ext cx="5962939" cy="4216091"/>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marL="228600" indent="-228600">
              <a:buFont typeface="+mj-lt"/>
              <a:buAutoNum type="arabicPeriod"/>
            </a:pPr>
            <a:r>
              <a:rPr lang="en-US" sz="1200" dirty="0">
                <a:solidFill>
                  <a:schemeClr val="tx1"/>
                </a:solidFill>
              </a:rPr>
              <a:t>Review of the risk assessment and how risks and opportunities are being addressed.</a:t>
            </a:r>
          </a:p>
          <a:p>
            <a:pPr marL="228600" indent="-228600">
              <a:buFont typeface="+mj-lt"/>
              <a:buAutoNum type="arabicPeriod"/>
            </a:pPr>
            <a:r>
              <a:rPr lang="en-US" sz="1200" dirty="0">
                <a:solidFill>
                  <a:schemeClr val="tx1"/>
                </a:solidFill>
              </a:rPr>
              <a:t>Review of policy and the implementation of policy requirements.</a:t>
            </a:r>
          </a:p>
          <a:p>
            <a:pPr marL="228600" indent="-228600">
              <a:buFont typeface="+mj-lt"/>
              <a:buAutoNum type="arabicPeriod"/>
            </a:pPr>
            <a:r>
              <a:rPr lang="en-US" sz="1200" dirty="0">
                <a:solidFill>
                  <a:schemeClr val="tx1"/>
                </a:solidFill>
              </a:rPr>
              <a:t>Levels of awareness amongst stakeholders regarding their role and contribution to event sustainability. </a:t>
            </a:r>
          </a:p>
          <a:p>
            <a:pPr marL="228600" indent="-228600">
              <a:buFont typeface="+mj-lt"/>
              <a:buAutoNum type="arabicPeriod"/>
            </a:pPr>
            <a:r>
              <a:rPr lang="en-US" sz="1200" dirty="0">
                <a:solidFill>
                  <a:schemeClr val="tx1"/>
                </a:solidFill>
              </a:rPr>
              <a:t>How stakeholders are identified and whether their requirements are taken into account.</a:t>
            </a:r>
          </a:p>
          <a:p>
            <a:pPr marL="228600" indent="-228600">
              <a:buFont typeface="+mj-lt"/>
              <a:buAutoNum type="arabicPeriod"/>
            </a:pPr>
            <a:r>
              <a:rPr lang="en-US" sz="1200" dirty="0">
                <a:solidFill>
                  <a:schemeClr val="tx1"/>
                </a:solidFill>
              </a:rPr>
              <a:t>Energy usage and the measurements in place.</a:t>
            </a:r>
          </a:p>
          <a:p>
            <a:pPr marL="228600" indent="-228600">
              <a:buFont typeface="+mj-lt"/>
              <a:buAutoNum type="arabicPeriod"/>
            </a:pPr>
            <a:r>
              <a:rPr lang="en-US" sz="1200" dirty="0">
                <a:solidFill>
                  <a:schemeClr val="tx1"/>
                </a:solidFill>
              </a:rPr>
              <a:t>Waste and the techniques used to eliminate waste and waste management.</a:t>
            </a:r>
          </a:p>
          <a:p>
            <a:pPr marL="228600" indent="-228600">
              <a:buFont typeface="+mj-lt"/>
              <a:buAutoNum type="arabicPeriod"/>
            </a:pPr>
            <a:r>
              <a:rPr lang="en-US" sz="1200" dirty="0">
                <a:solidFill>
                  <a:schemeClr val="tx1"/>
                </a:solidFill>
              </a:rPr>
              <a:t>Food sourcing, transportation, and management.</a:t>
            </a:r>
          </a:p>
          <a:p>
            <a:pPr marL="228600" indent="-228600">
              <a:buFont typeface="+mj-lt"/>
              <a:buAutoNum type="arabicPeriod"/>
            </a:pPr>
            <a:r>
              <a:rPr lang="en-US" sz="1200" dirty="0">
                <a:solidFill>
                  <a:schemeClr val="tx1"/>
                </a:solidFill>
              </a:rPr>
              <a:t>Engagement with local communities regarding the impact of events, risks, and opportunities.</a:t>
            </a:r>
          </a:p>
          <a:p>
            <a:pPr marL="228600" indent="-228600">
              <a:buFont typeface="+mj-lt"/>
              <a:buAutoNum type="arabicPeriod"/>
            </a:pPr>
            <a:r>
              <a:rPr lang="en-US" sz="1200" dirty="0">
                <a:solidFill>
                  <a:schemeClr val="tx1"/>
                </a:solidFill>
              </a:rPr>
              <a:t>Consideration of underrepresented groups and inclusivity strategies.</a:t>
            </a:r>
          </a:p>
          <a:p>
            <a:pPr marL="228600" indent="-228600">
              <a:buFont typeface="+mj-lt"/>
              <a:buAutoNum type="arabicPeriod"/>
            </a:pPr>
            <a:endParaRPr lang="en-US" sz="1200" dirty="0">
              <a:solidFill>
                <a:schemeClr val="tx1"/>
              </a:solidFill>
            </a:endParaRPr>
          </a:p>
        </p:txBody>
      </p:sp>
      <p:grpSp>
        <p:nvGrpSpPr>
          <p:cNvPr id="2" name="Group 1">
            <a:extLst>
              <a:ext uri="{FF2B5EF4-FFF2-40B4-BE49-F238E27FC236}">
                <a16:creationId xmlns:a16="http://schemas.microsoft.com/office/drawing/2014/main" id="{723265D9-6624-2BCA-F18F-133B4A38A6EE}"/>
              </a:ext>
            </a:extLst>
          </p:cNvPr>
          <p:cNvGrpSpPr/>
          <p:nvPr/>
        </p:nvGrpSpPr>
        <p:grpSpPr>
          <a:xfrm>
            <a:off x="8307843" y="2308195"/>
            <a:ext cx="3076984" cy="3197910"/>
            <a:chOff x="-2855913" y="5629276"/>
            <a:chExt cx="727076" cy="755650"/>
          </a:xfrm>
          <a:solidFill>
            <a:srgbClr val="801619"/>
          </a:solidFill>
        </p:grpSpPr>
        <p:sp>
          <p:nvSpPr>
            <p:cNvPr id="3" name="Freeform 727">
              <a:extLst>
                <a:ext uri="{FF2B5EF4-FFF2-40B4-BE49-F238E27FC236}">
                  <a16:creationId xmlns:a16="http://schemas.microsoft.com/office/drawing/2014/main" id="{0DD5FB3A-0490-1D64-46C6-AB84745DE096}"/>
                </a:ext>
              </a:extLst>
            </p:cNvPr>
            <p:cNvSpPr>
              <a:spLocks noEditPoints="1"/>
            </p:cNvSpPr>
            <p:nvPr/>
          </p:nvSpPr>
          <p:spPr bwMode="auto">
            <a:xfrm>
              <a:off x="-2855913" y="5629276"/>
              <a:ext cx="604838" cy="755650"/>
            </a:xfrm>
            <a:custGeom>
              <a:avLst/>
              <a:gdLst>
                <a:gd name="T0" fmla="*/ 779 w 2667"/>
                <a:gd name="T1" fmla="*/ 384 h 3334"/>
                <a:gd name="T2" fmla="*/ 400 w 2667"/>
                <a:gd name="T3" fmla="*/ 787 h 3334"/>
                <a:gd name="T4" fmla="*/ 779 w 2667"/>
                <a:gd name="T5" fmla="*/ 787 h 3334"/>
                <a:gd name="T6" fmla="*/ 779 w 2667"/>
                <a:gd name="T7" fmla="*/ 384 h 3334"/>
                <a:gd name="T8" fmla="*/ 855 w 2667"/>
                <a:gd name="T9" fmla="*/ 0 h 3334"/>
                <a:gd name="T10" fmla="*/ 2667 w 2667"/>
                <a:gd name="T11" fmla="*/ 0 h 3334"/>
                <a:gd name="T12" fmla="*/ 2667 w 2667"/>
                <a:gd name="T13" fmla="*/ 1531 h 3334"/>
                <a:gd name="T14" fmla="*/ 2618 w 2667"/>
                <a:gd name="T15" fmla="*/ 1503 h 3334"/>
                <a:gd name="T16" fmla="*/ 2567 w 2667"/>
                <a:gd name="T17" fmla="*/ 1479 h 3334"/>
                <a:gd name="T18" fmla="*/ 2514 w 2667"/>
                <a:gd name="T19" fmla="*/ 1461 h 3334"/>
                <a:gd name="T20" fmla="*/ 2461 w 2667"/>
                <a:gd name="T21" fmla="*/ 1446 h 3334"/>
                <a:gd name="T22" fmla="*/ 2461 w 2667"/>
                <a:gd name="T23" fmla="*/ 208 h 3334"/>
                <a:gd name="T24" fmla="*/ 986 w 2667"/>
                <a:gd name="T25" fmla="*/ 208 h 3334"/>
                <a:gd name="T26" fmla="*/ 986 w 2667"/>
                <a:gd name="T27" fmla="*/ 995 h 3334"/>
                <a:gd name="T28" fmla="*/ 206 w 2667"/>
                <a:gd name="T29" fmla="*/ 995 h 3334"/>
                <a:gd name="T30" fmla="*/ 206 w 2667"/>
                <a:gd name="T31" fmla="*/ 3126 h 3334"/>
                <a:gd name="T32" fmla="*/ 2461 w 2667"/>
                <a:gd name="T33" fmla="*/ 3126 h 3334"/>
                <a:gd name="T34" fmla="*/ 2461 w 2667"/>
                <a:gd name="T35" fmla="*/ 2905 h 3334"/>
                <a:gd name="T36" fmla="*/ 2492 w 2667"/>
                <a:gd name="T37" fmla="*/ 2899 h 3334"/>
                <a:gd name="T38" fmla="*/ 2521 w 2667"/>
                <a:gd name="T39" fmla="*/ 2891 h 3334"/>
                <a:gd name="T40" fmla="*/ 2667 w 2667"/>
                <a:gd name="T41" fmla="*/ 3039 h 3334"/>
                <a:gd name="T42" fmla="*/ 2667 w 2667"/>
                <a:gd name="T43" fmla="*/ 3334 h 3334"/>
                <a:gd name="T44" fmla="*/ 0 w 2667"/>
                <a:gd name="T45" fmla="*/ 3334 h 3334"/>
                <a:gd name="T46" fmla="*/ 0 w 2667"/>
                <a:gd name="T47" fmla="*/ 911 h 3334"/>
                <a:gd name="T48" fmla="*/ 855 w 2667"/>
                <a:gd name="T49" fmla="*/ 0 h 3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7" h="3334">
                  <a:moveTo>
                    <a:pt x="779" y="384"/>
                  </a:moveTo>
                  <a:lnTo>
                    <a:pt x="400" y="787"/>
                  </a:lnTo>
                  <a:lnTo>
                    <a:pt x="779" y="787"/>
                  </a:lnTo>
                  <a:lnTo>
                    <a:pt x="779" y="384"/>
                  </a:lnTo>
                  <a:close/>
                  <a:moveTo>
                    <a:pt x="855" y="0"/>
                  </a:moveTo>
                  <a:lnTo>
                    <a:pt x="2667" y="0"/>
                  </a:lnTo>
                  <a:lnTo>
                    <a:pt x="2667" y="1531"/>
                  </a:lnTo>
                  <a:lnTo>
                    <a:pt x="2618" y="1503"/>
                  </a:lnTo>
                  <a:lnTo>
                    <a:pt x="2567" y="1479"/>
                  </a:lnTo>
                  <a:lnTo>
                    <a:pt x="2514" y="1461"/>
                  </a:lnTo>
                  <a:lnTo>
                    <a:pt x="2461" y="1446"/>
                  </a:lnTo>
                  <a:lnTo>
                    <a:pt x="2461" y="208"/>
                  </a:lnTo>
                  <a:lnTo>
                    <a:pt x="986" y="208"/>
                  </a:lnTo>
                  <a:lnTo>
                    <a:pt x="986" y="995"/>
                  </a:lnTo>
                  <a:lnTo>
                    <a:pt x="206" y="995"/>
                  </a:lnTo>
                  <a:lnTo>
                    <a:pt x="206" y="3126"/>
                  </a:lnTo>
                  <a:lnTo>
                    <a:pt x="2461" y="3126"/>
                  </a:lnTo>
                  <a:lnTo>
                    <a:pt x="2461" y="2905"/>
                  </a:lnTo>
                  <a:lnTo>
                    <a:pt x="2492" y="2899"/>
                  </a:lnTo>
                  <a:lnTo>
                    <a:pt x="2521" y="2891"/>
                  </a:lnTo>
                  <a:lnTo>
                    <a:pt x="2667" y="3039"/>
                  </a:lnTo>
                  <a:lnTo>
                    <a:pt x="2667" y="3334"/>
                  </a:lnTo>
                  <a:lnTo>
                    <a:pt x="0" y="3334"/>
                  </a:lnTo>
                  <a:lnTo>
                    <a:pt x="0" y="911"/>
                  </a:lnTo>
                  <a:lnTo>
                    <a:pt x="8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Freeform 728">
              <a:extLst>
                <a:ext uri="{FF2B5EF4-FFF2-40B4-BE49-F238E27FC236}">
                  <a16:creationId xmlns:a16="http://schemas.microsoft.com/office/drawing/2014/main" id="{84B473A4-803D-641F-6AB8-50674E0DEDC7}"/>
                </a:ext>
              </a:extLst>
            </p:cNvPr>
            <p:cNvSpPr>
              <a:spLocks/>
            </p:cNvSpPr>
            <p:nvPr/>
          </p:nvSpPr>
          <p:spPr bwMode="auto">
            <a:xfrm>
              <a:off x="-2752725" y="5988051"/>
              <a:ext cx="311150" cy="52388"/>
            </a:xfrm>
            <a:custGeom>
              <a:avLst/>
              <a:gdLst>
                <a:gd name="T0" fmla="*/ 0 w 1375"/>
                <a:gd name="T1" fmla="*/ 0 h 235"/>
                <a:gd name="T2" fmla="*/ 1375 w 1375"/>
                <a:gd name="T3" fmla="*/ 0 h 235"/>
                <a:gd name="T4" fmla="*/ 1338 w 1375"/>
                <a:gd name="T5" fmla="*/ 30 h 235"/>
                <a:gd name="T6" fmla="*/ 1304 w 1375"/>
                <a:gd name="T7" fmla="*/ 63 h 235"/>
                <a:gd name="T8" fmla="*/ 1267 w 1375"/>
                <a:gd name="T9" fmla="*/ 102 h 235"/>
                <a:gd name="T10" fmla="*/ 1234 w 1375"/>
                <a:gd name="T11" fmla="*/ 145 h 235"/>
                <a:gd name="T12" fmla="*/ 1204 w 1375"/>
                <a:gd name="T13" fmla="*/ 188 h 235"/>
                <a:gd name="T14" fmla="*/ 1177 w 1375"/>
                <a:gd name="T15" fmla="*/ 235 h 235"/>
                <a:gd name="T16" fmla="*/ 0 w 1375"/>
                <a:gd name="T17" fmla="*/ 235 h 235"/>
                <a:gd name="T18" fmla="*/ 0 w 1375"/>
                <a:gd name="T19"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5" h="235">
                  <a:moveTo>
                    <a:pt x="0" y="0"/>
                  </a:moveTo>
                  <a:lnTo>
                    <a:pt x="1375" y="0"/>
                  </a:lnTo>
                  <a:lnTo>
                    <a:pt x="1338" y="30"/>
                  </a:lnTo>
                  <a:lnTo>
                    <a:pt x="1304" y="63"/>
                  </a:lnTo>
                  <a:lnTo>
                    <a:pt x="1267" y="102"/>
                  </a:lnTo>
                  <a:lnTo>
                    <a:pt x="1234" y="145"/>
                  </a:lnTo>
                  <a:lnTo>
                    <a:pt x="1204" y="188"/>
                  </a:lnTo>
                  <a:lnTo>
                    <a:pt x="1177" y="235"/>
                  </a:lnTo>
                  <a:lnTo>
                    <a:pt x="0" y="23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729">
              <a:extLst>
                <a:ext uri="{FF2B5EF4-FFF2-40B4-BE49-F238E27FC236}">
                  <a16:creationId xmlns:a16="http://schemas.microsoft.com/office/drawing/2014/main" id="{A4CD53E2-B03D-164F-17D8-A1110E2841EF}"/>
                </a:ext>
              </a:extLst>
            </p:cNvPr>
            <p:cNvSpPr>
              <a:spLocks/>
            </p:cNvSpPr>
            <p:nvPr/>
          </p:nvSpPr>
          <p:spPr bwMode="auto">
            <a:xfrm>
              <a:off x="-2752725" y="6092826"/>
              <a:ext cx="247650" cy="52388"/>
            </a:xfrm>
            <a:custGeom>
              <a:avLst/>
              <a:gdLst>
                <a:gd name="T0" fmla="*/ 0 w 1098"/>
                <a:gd name="T1" fmla="*/ 0 h 235"/>
                <a:gd name="T2" fmla="*/ 1098 w 1098"/>
                <a:gd name="T3" fmla="*/ 0 h 235"/>
                <a:gd name="T4" fmla="*/ 1089 w 1098"/>
                <a:gd name="T5" fmla="*/ 66 h 235"/>
                <a:gd name="T6" fmla="*/ 1086 w 1098"/>
                <a:gd name="T7" fmla="*/ 132 h 235"/>
                <a:gd name="T8" fmla="*/ 1088 w 1098"/>
                <a:gd name="T9" fmla="*/ 183 h 235"/>
                <a:gd name="T10" fmla="*/ 1093 w 1098"/>
                <a:gd name="T11" fmla="*/ 235 h 235"/>
                <a:gd name="T12" fmla="*/ 0 w 1098"/>
                <a:gd name="T13" fmla="*/ 235 h 235"/>
                <a:gd name="T14" fmla="*/ 0 w 1098"/>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8" h="235">
                  <a:moveTo>
                    <a:pt x="0" y="0"/>
                  </a:moveTo>
                  <a:lnTo>
                    <a:pt x="1098" y="0"/>
                  </a:lnTo>
                  <a:lnTo>
                    <a:pt x="1089" y="66"/>
                  </a:lnTo>
                  <a:lnTo>
                    <a:pt x="1086" y="132"/>
                  </a:lnTo>
                  <a:lnTo>
                    <a:pt x="1088" y="183"/>
                  </a:lnTo>
                  <a:lnTo>
                    <a:pt x="1093" y="235"/>
                  </a:lnTo>
                  <a:lnTo>
                    <a:pt x="0" y="23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730">
              <a:extLst>
                <a:ext uri="{FF2B5EF4-FFF2-40B4-BE49-F238E27FC236}">
                  <a16:creationId xmlns:a16="http://schemas.microsoft.com/office/drawing/2014/main" id="{9E3B5ADF-9DA2-ACE8-07F3-608866A35684}"/>
                </a:ext>
              </a:extLst>
            </p:cNvPr>
            <p:cNvSpPr>
              <a:spLocks/>
            </p:cNvSpPr>
            <p:nvPr/>
          </p:nvSpPr>
          <p:spPr bwMode="auto">
            <a:xfrm>
              <a:off x="-2752725" y="6202363"/>
              <a:ext cx="309563" cy="53975"/>
            </a:xfrm>
            <a:custGeom>
              <a:avLst/>
              <a:gdLst>
                <a:gd name="T0" fmla="*/ 0 w 1365"/>
                <a:gd name="T1" fmla="*/ 0 h 236"/>
                <a:gd name="T2" fmla="*/ 1172 w 1365"/>
                <a:gd name="T3" fmla="*/ 0 h 236"/>
                <a:gd name="T4" fmla="*/ 1200 w 1365"/>
                <a:gd name="T5" fmla="*/ 48 h 236"/>
                <a:gd name="T6" fmla="*/ 1232 w 1365"/>
                <a:gd name="T7" fmla="*/ 95 h 236"/>
                <a:gd name="T8" fmla="*/ 1266 w 1365"/>
                <a:gd name="T9" fmla="*/ 139 h 236"/>
                <a:gd name="T10" fmla="*/ 1304 w 1365"/>
                <a:gd name="T11" fmla="*/ 180 h 236"/>
                <a:gd name="T12" fmla="*/ 1334 w 1365"/>
                <a:gd name="T13" fmla="*/ 209 h 236"/>
                <a:gd name="T14" fmla="*/ 1365 w 1365"/>
                <a:gd name="T15" fmla="*/ 236 h 236"/>
                <a:gd name="T16" fmla="*/ 0 w 1365"/>
                <a:gd name="T17" fmla="*/ 236 h 236"/>
                <a:gd name="T18" fmla="*/ 0 w 1365"/>
                <a:gd name="T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5" h="236">
                  <a:moveTo>
                    <a:pt x="0" y="0"/>
                  </a:moveTo>
                  <a:lnTo>
                    <a:pt x="1172" y="0"/>
                  </a:lnTo>
                  <a:lnTo>
                    <a:pt x="1200" y="48"/>
                  </a:lnTo>
                  <a:lnTo>
                    <a:pt x="1232" y="95"/>
                  </a:lnTo>
                  <a:lnTo>
                    <a:pt x="1266" y="139"/>
                  </a:lnTo>
                  <a:lnTo>
                    <a:pt x="1304" y="180"/>
                  </a:lnTo>
                  <a:lnTo>
                    <a:pt x="1334" y="209"/>
                  </a:lnTo>
                  <a:lnTo>
                    <a:pt x="1365" y="236"/>
                  </a:lnTo>
                  <a:lnTo>
                    <a:pt x="0" y="23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31">
              <a:extLst>
                <a:ext uri="{FF2B5EF4-FFF2-40B4-BE49-F238E27FC236}">
                  <a16:creationId xmlns:a16="http://schemas.microsoft.com/office/drawing/2014/main" id="{16385733-798C-3F8A-F4EF-7DAC1DE3043C}"/>
                </a:ext>
              </a:extLst>
            </p:cNvPr>
            <p:cNvSpPr>
              <a:spLocks noEditPoints="1"/>
            </p:cNvSpPr>
            <p:nvPr/>
          </p:nvSpPr>
          <p:spPr bwMode="auto">
            <a:xfrm>
              <a:off x="-2479675" y="5980113"/>
              <a:ext cx="350838" cy="355600"/>
            </a:xfrm>
            <a:custGeom>
              <a:avLst/>
              <a:gdLst>
                <a:gd name="T0" fmla="*/ 578 w 1547"/>
                <a:gd name="T1" fmla="*/ 224 h 1563"/>
                <a:gd name="T2" fmla="*/ 492 w 1547"/>
                <a:gd name="T3" fmla="*/ 243 h 1563"/>
                <a:gd name="T4" fmla="*/ 410 w 1547"/>
                <a:gd name="T5" fmla="*/ 283 h 1563"/>
                <a:gd name="T6" fmla="*/ 337 w 1547"/>
                <a:gd name="T7" fmla="*/ 341 h 1563"/>
                <a:gd name="T8" fmla="*/ 279 w 1547"/>
                <a:gd name="T9" fmla="*/ 415 h 1563"/>
                <a:gd name="T10" fmla="*/ 241 w 1547"/>
                <a:gd name="T11" fmla="*/ 496 h 1563"/>
                <a:gd name="T12" fmla="*/ 222 w 1547"/>
                <a:gd name="T13" fmla="*/ 584 h 1563"/>
                <a:gd name="T14" fmla="*/ 222 w 1547"/>
                <a:gd name="T15" fmla="*/ 673 h 1563"/>
                <a:gd name="T16" fmla="*/ 241 w 1547"/>
                <a:gd name="T17" fmla="*/ 760 h 1563"/>
                <a:gd name="T18" fmla="*/ 279 w 1547"/>
                <a:gd name="T19" fmla="*/ 843 h 1563"/>
                <a:gd name="T20" fmla="*/ 337 w 1547"/>
                <a:gd name="T21" fmla="*/ 916 h 1563"/>
                <a:gd name="T22" fmla="*/ 410 w 1547"/>
                <a:gd name="T23" fmla="*/ 975 h 1563"/>
                <a:gd name="T24" fmla="*/ 492 w 1547"/>
                <a:gd name="T25" fmla="*/ 1014 h 1563"/>
                <a:gd name="T26" fmla="*/ 578 w 1547"/>
                <a:gd name="T27" fmla="*/ 1033 h 1563"/>
                <a:gd name="T28" fmla="*/ 667 w 1547"/>
                <a:gd name="T29" fmla="*/ 1033 h 1563"/>
                <a:gd name="T30" fmla="*/ 753 w 1547"/>
                <a:gd name="T31" fmla="*/ 1014 h 1563"/>
                <a:gd name="T32" fmla="*/ 834 w 1547"/>
                <a:gd name="T33" fmla="*/ 975 h 1563"/>
                <a:gd name="T34" fmla="*/ 907 w 1547"/>
                <a:gd name="T35" fmla="*/ 916 h 1563"/>
                <a:gd name="T36" fmla="*/ 964 w 1547"/>
                <a:gd name="T37" fmla="*/ 843 h 1563"/>
                <a:gd name="T38" fmla="*/ 1003 w 1547"/>
                <a:gd name="T39" fmla="*/ 760 h 1563"/>
                <a:gd name="T40" fmla="*/ 1023 w 1547"/>
                <a:gd name="T41" fmla="*/ 673 h 1563"/>
                <a:gd name="T42" fmla="*/ 1023 w 1547"/>
                <a:gd name="T43" fmla="*/ 584 h 1563"/>
                <a:gd name="T44" fmla="*/ 1003 w 1547"/>
                <a:gd name="T45" fmla="*/ 496 h 1563"/>
                <a:gd name="T46" fmla="*/ 964 w 1547"/>
                <a:gd name="T47" fmla="*/ 415 h 1563"/>
                <a:gd name="T48" fmla="*/ 907 w 1547"/>
                <a:gd name="T49" fmla="*/ 341 h 1563"/>
                <a:gd name="T50" fmla="*/ 834 w 1547"/>
                <a:gd name="T51" fmla="*/ 283 h 1563"/>
                <a:gd name="T52" fmla="*/ 753 w 1547"/>
                <a:gd name="T53" fmla="*/ 243 h 1563"/>
                <a:gd name="T54" fmla="*/ 667 w 1547"/>
                <a:gd name="T55" fmla="*/ 224 h 1563"/>
                <a:gd name="T56" fmla="*/ 594 w 1547"/>
                <a:gd name="T57" fmla="*/ 0 h 1563"/>
                <a:gd name="T58" fmla="*/ 707 w 1547"/>
                <a:gd name="T59" fmla="*/ 5 h 1563"/>
                <a:gd name="T60" fmla="*/ 817 w 1547"/>
                <a:gd name="T61" fmla="*/ 31 h 1563"/>
                <a:gd name="T62" fmla="*/ 921 w 1547"/>
                <a:gd name="T63" fmla="*/ 77 h 1563"/>
                <a:gd name="T64" fmla="*/ 1018 w 1547"/>
                <a:gd name="T65" fmla="*/ 142 h 1563"/>
                <a:gd name="T66" fmla="*/ 1104 w 1547"/>
                <a:gd name="T67" fmla="*/ 229 h 1563"/>
                <a:gd name="T68" fmla="*/ 1170 w 1547"/>
                <a:gd name="T69" fmla="*/ 329 h 1563"/>
                <a:gd name="T70" fmla="*/ 1215 w 1547"/>
                <a:gd name="T71" fmla="*/ 436 h 1563"/>
                <a:gd name="T72" fmla="*/ 1240 w 1547"/>
                <a:gd name="T73" fmla="*/ 550 h 1563"/>
                <a:gd name="T74" fmla="*/ 1243 w 1547"/>
                <a:gd name="T75" fmla="*/ 665 h 1563"/>
                <a:gd name="T76" fmla="*/ 1226 w 1547"/>
                <a:gd name="T77" fmla="*/ 779 h 1563"/>
                <a:gd name="T78" fmla="*/ 1188 w 1547"/>
                <a:gd name="T79" fmla="*/ 890 h 1563"/>
                <a:gd name="T80" fmla="*/ 1240 w 1547"/>
                <a:gd name="T81" fmla="*/ 1563 h 1563"/>
                <a:gd name="T82" fmla="*/ 826 w 1547"/>
                <a:gd name="T83" fmla="*/ 1223 h 1563"/>
                <a:gd name="T84" fmla="*/ 715 w 1547"/>
                <a:gd name="T85" fmla="*/ 1250 h 1563"/>
                <a:gd name="T86" fmla="*/ 601 w 1547"/>
                <a:gd name="T87" fmla="*/ 1256 h 1563"/>
                <a:gd name="T88" fmla="*/ 487 w 1547"/>
                <a:gd name="T89" fmla="*/ 1242 h 1563"/>
                <a:gd name="T90" fmla="*/ 377 w 1547"/>
                <a:gd name="T91" fmla="*/ 1207 h 1563"/>
                <a:gd name="T92" fmla="*/ 275 w 1547"/>
                <a:gd name="T93" fmla="*/ 1151 h 1563"/>
                <a:gd name="T94" fmla="*/ 182 w 1547"/>
                <a:gd name="T95" fmla="*/ 1073 h 1563"/>
                <a:gd name="T96" fmla="*/ 105 w 1547"/>
                <a:gd name="T97" fmla="*/ 981 h 1563"/>
                <a:gd name="T98" fmla="*/ 50 w 1547"/>
                <a:gd name="T99" fmla="*/ 879 h 1563"/>
                <a:gd name="T100" fmla="*/ 15 w 1547"/>
                <a:gd name="T101" fmla="*/ 770 h 1563"/>
                <a:gd name="T102" fmla="*/ 0 w 1547"/>
                <a:gd name="T103" fmla="*/ 657 h 1563"/>
                <a:gd name="T104" fmla="*/ 5 w 1547"/>
                <a:gd name="T105" fmla="*/ 543 h 1563"/>
                <a:gd name="T106" fmla="*/ 30 w 1547"/>
                <a:gd name="T107" fmla="*/ 432 h 1563"/>
                <a:gd name="T108" fmla="*/ 75 w 1547"/>
                <a:gd name="T109" fmla="*/ 326 h 1563"/>
                <a:gd name="T110" fmla="*/ 141 w 1547"/>
                <a:gd name="T111" fmla="*/ 228 h 1563"/>
                <a:gd name="T112" fmla="*/ 226 w 1547"/>
                <a:gd name="T113" fmla="*/ 142 h 1563"/>
                <a:gd name="T114" fmla="*/ 322 w 1547"/>
                <a:gd name="T115" fmla="*/ 77 h 1563"/>
                <a:gd name="T116" fmla="*/ 428 w 1547"/>
                <a:gd name="T117" fmla="*/ 31 h 1563"/>
                <a:gd name="T118" fmla="*/ 538 w 1547"/>
                <a:gd name="T119" fmla="*/ 5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7" h="1563">
                  <a:moveTo>
                    <a:pt x="622" y="222"/>
                  </a:moveTo>
                  <a:lnTo>
                    <a:pt x="578" y="224"/>
                  </a:lnTo>
                  <a:lnTo>
                    <a:pt x="534" y="231"/>
                  </a:lnTo>
                  <a:lnTo>
                    <a:pt x="492" y="243"/>
                  </a:lnTo>
                  <a:lnTo>
                    <a:pt x="450" y="261"/>
                  </a:lnTo>
                  <a:lnTo>
                    <a:pt x="410" y="283"/>
                  </a:lnTo>
                  <a:lnTo>
                    <a:pt x="372" y="309"/>
                  </a:lnTo>
                  <a:lnTo>
                    <a:pt x="337" y="341"/>
                  </a:lnTo>
                  <a:lnTo>
                    <a:pt x="306" y="376"/>
                  </a:lnTo>
                  <a:lnTo>
                    <a:pt x="279" y="415"/>
                  </a:lnTo>
                  <a:lnTo>
                    <a:pt x="258" y="455"/>
                  </a:lnTo>
                  <a:lnTo>
                    <a:pt x="241" y="496"/>
                  </a:lnTo>
                  <a:lnTo>
                    <a:pt x="228" y="540"/>
                  </a:lnTo>
                  <a:lnTo>
                    <a:pt x="222" y="584"/>
                  </a:lnTo>
                  <a:lnTo>
                    <a:pt x="220" y="628"/>
                  </a:lnTo>
                  <a:lnTo>
                    <a:pt x="222" y="673"/>
                  </a:lnTo>
                  <a:lnTo>
                    <a:pt x="228" y="718"/>
                  </a:lnTo>
                  <a:lnTo>
                    <a:pt x="241" y="760"/>
                  </a:lnTo>
                  <a:lnTo>
                    <a:pt x="258" y="803"/>
                  </a:lnTo>
                  <a:lnTo>
                    <a:pt x="279" y="843"/>
                  </a:lnTo>
                  <a:lnTo>
                    <a:pt x="306" y="881"/>
                  </a:lnTo>
                  <a:lnTo>
                    <a:pt x="337" y="916"/>
                  </a:lnTo>
                  <a:lnTo>
                    <a:pt x="372" y="948"/>
                  </a:lnTo>
                  <a:lnTo>
                    <a:pt x="410" y="975"/>
                  </a:lnTo>
                  <a:lnTo>
                    <a:pt x="450" y="997"/>
                  </a:lnTo>
                  <a:lnTo>
                    <a:pt x="492" y="1014"/>
                  </a:lnTo>
                  <a:lnTo>
                    <a:pt x="534" y="1026"/>
                  </a:lnTo>
                  <a:lnTo>
                    <a:pt x="578" y="1033"/>
                  </a:lnTo>
                  <a:lnTo>
                    <a:pt x="622" y="1036"/>
                  </a:lnTo>
                  <a:lnTo>
                    <a:pt x="667" y="1033"/>
                  </a:lnTo>
                  <a:lnTo>
                    <a:pt x="710" y="1026"/>
                  </a:lnTo>
                  <a:lnTo>
                    <a:pt x="753" y="1014"/>
                  </a:lnTo>
                  <a:lnTo>
                    <a:pt x="794" y="997"/>
                  </a:lnTo>
                  <a:lnTo>
                    <a:pt x="834" y="975"/>
                  </a:lnTo>
                  <a:lnTo>
                    <a:pt x="872" y="948"/>
                  </a:lnTo>
                  <a:lnTo>
                    <a:pt x="907" y="916"/>
                  </a:lnTo>
                  <a:lnTo>
                    <a:pt x="939" y="881"/>
                  </a:lnTo>
                  <a:lnTo>
                    <a:pt x="964" y="843"/>
                  </a:lnTo>
                  <a:lnTo>
                    <a:pt x="986" y="803"/>
                  </a:lnTo>
                  <a:lnTo>
                    <a:pt x="1003" y="760"/>
                  </a:lnTo>
                  <a:lnTo>
                    <a:pt x="1015" y="718"/>
                  </a:lnTo>
                  <a:lnTo>
                    <a:pt x="1023" y="673"/>
                  </a:lnTo>
                  <a:lnTo>
                    <a:pt x="1025" y="628"/>
                  </a:lnTo>
                  <a:lnTo>
                    <a:pt x="1023" y="584"/>
                  </a:lnTo>
                  <a:lnTo>
                    <a:pt x="1015" y="540"/>
                  </a:lnTo>
                  <a:lnTo>
                    <a:pt x="1003" y="496"/>
                  </a:lnTo>
                  <a:lnTo>
                    <a:pt x="986" y="455"/>
                  </a:lnTo>
                  <a:lnTo>
                    <a:pt x="964" y="415"/>
                  </a:lnTo>
                  <a:lnTo>
                    <a:pt x="939" y="376"/>
                  </a:lnTo>
                  <a:lnTo>
                    <a:pt x="907" y="341"/>
                  </a:lnTo>
                  <a:lnTo>
                    <a:pt x="872" y="309"/>
                  </a:lnTo>
                  <a:lnTo>
                    <a:pt x="834" y="283"/>
                  </a:lnTo>
                  <a:lnTo>
                    <a:pt x="794" y="261"/>
                  </a:lnTo>
                  <a:lnTo>
                    <a:pt x="753" y="243"/>
                  </a:lnTo>
                  <a:lnTo>
                    <a:pt x="710" y="231"/>
                  </a:lnTo>
                  <a:lnTo>
                    <a:pt x="667" y="224"/>
                  </a:lnTo>
                  <a:lnTo>
                    <a:pt x="622" y="222"/>
                  </a:lnTo>
                  <a:close/>
                  <a:moveTo>
                    <a:pt x="594" y="0"/>
                  </a:moveTo>
                  <a:lnTo>
                    <a:pt x="650" y="0"/>
                  </a:lnTo>
                  <a:lnTo>
                    <a:pt x="707" y="5"/>
                  </a:lnTo>
                  <a:lnTo>
                    <a:pt x="762" y="16"/>
                  </a:lnTo>
                  <a:lnTo>
                    <a:pt x="817" y="31"/>
                  </a:lnTo>
                  <a:lnTo>
                    <a:pt x="870" y="50"/>
                  </a:lnTo>
                  <a:lnTo>
                    <a:pt x="921" y="77"/>
                  </a:lnTo>
                  <a:lnTo>
                    <a:pt x="971" y="107"/>
                  </a:lnTo>
                  <a:lnTo>
                    <a:pt x="1018" y="142"/>
                  </a:lnTo>
                  <a:lnTo>
                    <a:pt x="1063" y="184"/>
                  </a:lnTo>
                  <a:lnTo>
                    <a:pt x="1104" y="229"/>
                  </a:lnTo>
                  <a:lnTo>
                    <a:pt x="1139" y="277"/>
                  </a:lnTo>
                  <a:lnTo>
                    <a:pt x="1170" y="329"/>
                  </a:lnTo>
                  <a:lnTo>
                    <a:pt x="1195" y="382"/>
                  </a:lnTo>
                  <a:lnTo>
                    <a:pt x="1215" y="436"/>
                  </a:lnTo>
                  <a:lnTo>
                    <a:pt x="1230" y="492"/>
                  </a:lnTo>
                  <a:lnTo>
                    <a:pt x="1240" y="550"/>
                  </a:lnTo>
                  <a:lnTo>
                    <a:pt x="1244" y="608"/>
                  </a:lnTo>
                  <a:lnTo>
                    <a:pt x="1243" y="665"/>
                  </a:lnTo>
                  <a:lnTo>
                    <a:pt x="1238" y="722"/>
                  </a:lnTo>
                  <a:lnTo>
                    <a:pt x="1226" y="779"/>
                  </a:lnTo>
                  <a:lnTo>
                    <a:pt x="1209" y="836"/>
                  </a:lnTo>
                  <a:lnTo>
                    <a:pt x="1188" y="890"/>
                  </a:lnTo>
                  <a:lnTo>
                    <a:pt x="1547" y="1252"/>
                  </a:lnTo>
                  <a:lnTo>
                    <a:pt x="1240" y="1563"/>
                  </a:lnTo>
                  <a:lnTo>
                    <a:pt x="880" y="1201"/>
                  </a:lnTo>
                  <a:lnTo>
                    <a:pt x="826" y="1223"/>
                  </a:lnTo>
                  <a:lnTo>
                    <a:pt x="771" y="1239"/>
                  </a:lnTo>
                  <a:lnTo>
                    <a:pt x="715" y="1250"/>
                  </a:lnTo>
                  <a:lnTo>
                    <a:pt x="658" y="1256"/>
                  </a:lnTo>
                  <a:lnTo>
                    <a:pt x="601" y="1256"/>
                  </a:lnTo>
                  <a:lnTo>
                    <a:pt x="544" y="1252"/>
                  </a:lnTo>
                  <a:lnTo>
                    <a:pt x="487" y="1242"/>
                  </a:lnTo>
                  <a:lnTo>
                    <a:pt x="431" y="1228"/>
                  </a:lnTo>
                  <a:lnTo>
                    <a:pt x="377" y="1207"/>
                  </a:lnTo>
                  <a:lnTo>
                    <a:pt x="326" y="1182"/>
                  </a:lnTo>
                  <a:lnTo>
                    <a:pt x="275" y="1151"/>
                  </a:lnTo>
                  <a:lnTo>
                    <a:pt x="226" y="1115"/>
                  </a:lnTo>
                  <a:lnTo>
                    <a:pt x="182" y="1073"/>
                  </a:lnTo>
                  <a:lnTo>
                    <a:pt x="141" y="1028"/>
                  </a:lnTo>
                  <a:lnTo>
                    <a:pt x="105" y="981"/>
                  </a:lnTo>
                  <a:lnTo>
                    <a:pt x="75" y="930"/>
                  </a:lnTo>
                  <a:lnTo>
                    <a:pt x="50" y="879"/>
                  </a:lnTo>
                  <a:lnTo>
                    <a:pt x="30" y="825"/>
                  </a:lnTo>
                  <a:lnTo>
                    <a:pt x="15" y="770"/>
                  </a:lnTo>
                  <a:lnTo>
                    <a:pt x="5" y="713"/>
                  </a:lnTo>
                  <a:lnTo>
                    <a:pt x="0" y="657"/>
                  </a:lnTo>
                  <a:lnTo>
                    <a:pt x="0" y="600"/>
                  </a:lnTo>
                  <a:lnTo>
                    <a:pt x="5" y="543"/>
                  </a:lnTo>
                  <a:lnTo>
                    <a:pt x="15" y="488"/>
                  </a:lnTo>
                  <a:lnTo>
                    <a:pt x="30" y="432"/>
                  </a:lnTo>
                  <a:lnTo>
                    <a:pt x="50" y="378"/>
                  </a:lnTo>
                  <a:lnTo>
                    <a:pt x="75" y="326"/>
                  </a:lnTo>
                  <a:lnTo>
                    <a:pt x="105" y="276"/>
                  </a:lnTo>
                  <a:lnTo>
                    <a:pt x="141" y="228"/>
                  </a:lnTo>
                  <a:lnTo>
                    <a:pt x="182" y="184"/>
                  </a:lnTo>
                  <a:lnTo>
                    <a:pt x="226" y="142"/>
                  </a:lnTo>
                  <a:lnTo>
                    <a:pt x="273" y="107"/>
                  </a:lnTo>
                  <a:lnTo>
                    <a:pt x="322" y="77"/>
                  </a:lnTo>
                  <a:lnTo>
                    <a:pt x="374" y="50"/>
                  </a:lnTo>
                  <a:lnTo>
                    <a:pt x="428" y="31"/>
                  </a:lnTo>
                  <a:lnTo>
                    <a:pt x="482" y="16"/>
                  </a:lnTo>
                  <a:lnTo>
                    <a:pt x="538" y="5"/>
                  </a:lnTo>
                  <a:lnTo>
                    <a:pt x="5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66983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circle(out)">
                                      <p:cBhvr>
                                        <p:cTn id="7" dur="20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Effect transition="in" filter="fade">
                                      <p:cBhvr>
                                        <p:cTn id="17" dur="500"/>
                                        <p:tgtEl>
                                          <p:spTgt spid="5">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2" end="2"/>
                                            </p:txEl>
                                          </p:spTgt>
                                        </p:tgtEl>
                                        <p:attrNameLst>
                                          <p:attrName>style.visibility</p:attrName>
                                        </p:attrNameLst>
                                      </p:cBhvr>
                                      <p:to>
                                        <p:strVal val="visible"/>
                                      </p:to>
                                    </p:set>
                                    <p:animEffect transition="in" filter="fade">
                                      <p:cBhvr>
                                        <p:cTn id="22" dur="500"/>
                                        <p:tgtEl>
                                          <p:spTgt spid="5">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Effect transition="in" filter="fade">
                                      <p:cBhvr>
                                        <p:cTn id="27" dur="500"/>
                                        <p:tgtEl>
                                          <p:spTgt spid="5">
                                            <p:txEl>
                                              <p:pRg st="3" end="3"/>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4" end="4"/>
                                            </p:txEl>
                                          </p:spTgt>
                                        </p:tgtEl>
                                        <p:attrNameLst>
                                          <p:attrName>style.visibility</p:attrName>
                                        </p:attrNameLst>
                                      </p:cBhvr>
                                      <p:to>
                                        <p:strVal val="visible"/>
                                      </p:to>
                                    </p:set>
                                    <p:animEffect transition="in" filter="fade">
                                      <p:cBhvr>
                                        <p:cTn id="32" dur="500"/>
                                        <p:tgtEl>
                                          <p:spTgt spid="5">
                                            <p:txEl>
                                              <p:pRg st="4" end="4"/>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xEl>
                                              <p:pRg st="5" end="5"/>
                                            </p:txEl>
                                          </p:spTgt>
                                        </p:tgtEl>
                                        <p:attrNameLst>
                                          <p:attrName>style.visibility</p:attrName>
                                        </p:attrNameLst>
                                      </p:cBhvr>
                                      <p:to>
                                        <p:strVal val="visible"/>
                                      </p:to>
                                    </p:set>
                                    <p:animEffect transition="in" filter="fade">
                                      <p:cBhvr>
                                        <p:cTn id="37" dur="500"/>
                                        <p:tgtEl>
                                          <p:spTgt spid="5">
                                            <p:txEl>
                                              <p:pRg st="5" end="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txEl>
                                              <p:pRg st="6" end="6"/>
                                            </p:txEl>
                                          </p:spTgt>
                                        </p:tgtEl>
                                        <p:attrNameLst>
                                          <p:attrName>style.visibility</p:attrName>
                                        </p:attrNameLst>
                                      </p:cBhvr>
                                      <p:to>
                                        <p:strVal val="visible"/>
                                      </p:to>
                                    </p:set>
                                    <p:animEffect transition="in" filter="fade">
                                      <p:cBhvr>
                                        <p:cTn id="42" dur="500"/>
                                        <p:tgtEl>
                                          <p:spTgt spid="5">
                                            <p:txEl>
                                              <p:pRg st="6" end="6"/>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txEl>
                                              <p:pRg st="7" end="7"/>
                                            </p:txEl>
                                          </p:spTgt>
                                        </p:tgtEl>
                                        <p:attrNameLst>
                                          <p:attrName>style.visibility</p:attrName>
                                        </p:attrNameLst>
                                      </p:cBhvr>
                                      <p:to>
                                        <p:strVal val="visible"/>
                                      </p:to>
                                    </p:set>
                                    <p:animEffect transition="in" filter="fade">
                                      <p:cBhvr>
                                        <p:cTn id="47" dur="500"/>
                                        <p:tgtEl>
                                          <p:spTgt spid="5">
                                            <p:txEl>
                                              <p:pRg st="7" end="7"/>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
                                            <p:txEl>
                                              <p:pRg st="8" end="8"/>
                                            </p:txEl>
                                          </p:spTgt>
                                        </p:tgtEl>
                                        <p:attrNameLst>
                                          <p:attrName>style.visibility</p:attrName>
                                        </p:attrNameLst>
                                      </p:cBhvr>
                                      <p:to>
                                        <p:strVal val="visible"/>
                                      </p:to>
                                    </p:set>
                                    <p:animEffect transition="in" filter="fade">
                                      <p:cBhvr>
                                        <p:cTn id="52"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5"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94D3C4-6388-6995-C558-AAA1CC7ECEA0}"/>
              </a:ext>
            </a:extLst>
          </p:cNvPr>
          <p:cNvSpPr/>
          <p:nvPr/>
        </p:nvSpPr>
        <p:spPr>
          <a:xfrm>
            <a:off x="0" y="1864311"/>
            <a:ext cx="12192000" cy="316045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 name="TextBox 2">
            <a:extLst>
              <a:ext uri="{FF2B5EF4-FFF2-40B4-BE49-F238E27FC236}">
                <a16:creationId xmlns:a16="http://schemas.microsoft.com/office/drawing/2014/main" id="{B4093F5D-C559-9E79-8189-D1495A640D07}"/>
              </a:ext>
            </a:extLst>
          </p:cNvPr>
          <p:cNvSpPr txBox="1"/>
          <p:nvPr/>
        </p:nvSpPr>
        <p:spPr>
          <a:xfrm>
            <a:off x="6700160" y="2705725"/>
            <a:ext cx="4801504" cy="1446550"/>
          </a:xfrm>
          <a:prstGeom prst="rect">
            <a:avLst/>
          </a:prstGeom>
          <a:noFill/>
        </p:spPr>
        <p:txBody>
          <a:bodyPr wrap="square" rtlCol="0">
            <a:spAutoFit/>
          </a:bodyPr>
          <a:lstStyle/>
          <a:p>
            <a:r>
              <a:rPr lang="en-US" sz="8800" b="1">
                <a:solidFill>
                  <a:schemeClr val="accent5"/>
                </a:solidFill>
                <a:latin typeface="+mj-lt"/>
              </a:rPr>
              <a:t>Q&amp;A</a:t>
            </a:r>
            <a:endParaRPr lang="en-ID" sz="8800" b="1">
              <a:solidFill>
                <a:schemeClr val="accent5"/>
              </a:solidFill>
              <a:latin typeface="+mj-lt"/>
            </a:endParaRPr>
          </a:p>
        </p:txBody>
      </p:sp>
      <p:pic>
        <p:nvPicPr>
          <p:cNvPr id="8" name="Picture 7">
            <a:extLst>
              <a:ext uri="{FF2B5EF4-FFF2-40B4-BE49-F238E27FC236}">
                <a16:creationId xmlns:a16="http://schemas.microsoft.com/office/drawing/2014/main" id="{95CD106F-A648-0086-526C-6D4BB436FE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54" y="323377"/>
            <a:ext cx="6242317" cy="6242317"/>
          </a:xfrm>
          <a:prstGeom prst="rect">
            <a:avLst/>
          </a:prstGeom>
        </p:spPr>
      </p:pic>
    </p:spTree>
    <p:extLst>
      <p:ext uri="{BB962C8B-B14F-4D97-AF65-F5344CB8AC3E}">
        <p14:creationId xmlns:p14="http://schemas.microsoft.com/office/powerpoint/2010/main" val="2318522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1+#ppt_w/2"/>
                                          </p:val>
                                        </p:tav>
                                        <p:tav tm="100000">
                                          <p:val>
                                            <p:strVal val="#ppt_x"/>
                                          </p:val>
                                        </p:tav>
                                      </p:tavLst>
                                    </p:anim>
                                    <p:anim calcmode="lin" valueType="num">
                                      <p:cBhvr additive="base">
                                        <p:cTn id="12"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9D29308-552B-C87C-06B8-4E5DF889BFAC}"/>
              </a:ext>
            </a:extLst>
          </p:cNvPr>
          <p:cNvSpPr/>
          <p:nvPr/>
        </p:nvSpPr>
        <p:spPr>
          <a:xfrm>
            <a:off x="5868140" y="0"/>
            <a:ext cx="632386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17086EC-95C7-43D2-9C0B-20AC9CF4EF1B}"/>
              </a:ext>
            </a:extLst>
          </p:cNvPr>
          <p:cNvSpPr txBox="1"/>
          <p:nvPr/>
        </p:nvSpPr>
        <p:spPr>
          <a:xfrm>
            <a:off x="731228" y="1016916"/>
            <a:ext cx="3418108" cy="523220"/>
          </a:xfrm>
          <a:prstGeom prst="rect">
            <a:avLst/>
          </a:prstGeom>
          <a:noFill/>
        </p:spPr>
        <p:txBody>
          <a:bodyPr wrap="square" rtlCol="0">
            <a:spAutoFit/>
          </a:bodyPr>
          <a:lstStyle/>
          <a:p>
            <a:r>
              <a:rPr lang="en-US" sz="2800" b="1">
                <a:solidFill>
                  <a:srgbClr val="801619"/>
                </a:solidFill>
                <a:latin typeface="+mj-lt"/>
              </a:rPr>
              <a:t>About MSECB</a:t>
            </a:r>
            <a:endParaRPr lang="en-ID" sz="2800" b="1">
              <a:solidFill>
                <a:srgbClr val="801619"/>
              </a:solidFill>
              <a:latin typeface="+mj-lt"/>
            </a:endParaRPr>
          </a:p>
        </p:txBody>
      </p:sp>
      <p:sp>
        <p:nvSpPr>
          <p:cNvPr id="15" name="TextBox 14">
            <a:extLst>
              <a:ext uri="{FF2B5EF4-FFF2-40B4-BE49-F238E27FC236}">
                <a16:creationId xmlns:a16="http://schemas.microsoft.com/office/drawing/2014/main" id="{A7BB9B5F-A8D1-4A38-BE45-DEC78E729B50}"/>
              </a:ext>
            </a:extLst>
          </p:cNvPr>
          <p:cNvSpPr txBox="1"/>
          <p:nvPr/>
        </p:nvSpPr>
        <p:spPr>
          <a:xfrm>
            <a:off x="731227" y="1683728"/>
            <a:ext cx="4127100" cy="2492990"/>
          </a:xfrm>
          <a:prstGeom prst="rect">
            <a:avLst/>
          </a:prstGeom>
          <a:noFill/>
        </p:spPr>
        <p:txBody>
          <a:bodyPr wrap="square">
            <a:spAutoFit/>
          </a:bodyPr>
          <a:lstStyle/>
          <a:p>
            <a:pPr algn="just"/>
            <a:r>
              <a:rPr lang="en-US" sz="1200" dirty="0"/>
              <a:t>MSECB is an IAS-accredited certification body for management systems on various international standards. </a:t>
            </a:r>
          </a:p>
          <a:p>
            <a:pPr algn="just"/>
            <a:endParaRPr lang="en-US" sz="1200" dirty="0"/>
          </a:p>
          <a:p>
            <a:pPr algn="just"/>
            <a:r>
              <a:rPr lang="en-US" sz="1200" dirty="0"/>
              <a:t>Furthermore, MSECB, as a Corporate Member of the Cloud Security Alliance (CSA), offers Level 2 STAR Certification in conjunction with ISO/IEC 27001. </a:t>
            </a:r>
          </a:p>
          <a:p>
            <a:pPr algn="just"/>
            <a:endParaRPr lang="en-US" sz="1200" dirty="0"/>
          </a:p>
          <a:p>
            <a:pPr algn="just"/>
            <a:r>
              <a:rPr lang="en-US" sz="1200" dirty="0"/>
              <a:t>We are also proud members of the Independent Association of Accredited Registrars (IAAR), a member-driven organization promoting accredited management system certification.</a:t>
            </a:r>
            <a:endParaRPr lang="en-GB" sz="1200" dirty="0"/>
          </a:p>
        </p:txBody>
      </p:sp>
      <p:sp>
        <p:nvSpPr>
          <p:cNvPr id="3" name="Rectangle 2">
            <a:extLst>
              <a:ext uri="{FF2B5EF4-FFF2-40B4-BE49-F238E27FC236}">
                <a16:creationId xmlns:a16="http://schemas.microsoft.com/office/drawing/2014/main" id="{93B57E85-F2BD-227C-39D7-D67B8A6339F0}"/>
              </a:ext>
            </a:extLst>
          </p:cNvPr>
          <p:cNvSpPr/>
          <p:nvPr/>
        </p:nvSpPr>
        <p:spPr>
          <a:xfrm>
            <a:off x="6711517" y="1783815"/>
            <a:ext cx="4719874" cy="333358"/>
          </a:xfrm>
          <a:prstGeom prst="rect">
            <a:avLst/>
          </a:prstGeom>
          <a:solidFill>
            <a:srgbClr val="0C2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Information Security and Privacy</a:t>
            </a:r>
          </a:p>
        </p:txBody>
      </p:sp>
      <p:sp>
        <p:nvSpPr>
          <p:cNvPr id="4" name="Rectangle 3">
            <a:extLst>
              <a:ext uri="{FF2B5EF4-FFF2-40B4-BE49-F238E27FC236}">
                <a16:creationId xmlns:a16="http://schemas.microsoft.com/office/drawing/2014/main" id="{D217CAC5-CED8-934E-0486-36CD968E2FBB}"/>
              </a:ext>
            </a:extLst>
          </p:cNvPr>
          <p:cNvSpPr/>
          <p:nvPr/>
        </p:nvSpPr>
        <p:spPr>
          <a:xfrm>
            <a:off x="6711515" y="2365748"/>
            <a:ext cx="4719875" cy="333358"/>
          </a:xfrm>
          <a:prstGeom prst="rect">
            <a:avLst/>
          </a:prstGeom>
          <a:solidFill>
            <a:srgbClr val="207D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Quality, HSE, and Sustainability</a:t>
            </a:r>
          </a:p>
        </p:txBody>
      </p:sp>
      <p:sp>
        <p:nvSpPr>
          <p:cNvPr id="6" name="Rectangle 5">
            <a:extLst>
              <a:ext uri="{FF2B5EF4-FFF2-40B4-BE49-F238E27FC236}">
                <a16:creationId xmlns:a16="http://schemas.microsoft.com/office/drawing/2014/main" id="{97F81100-73C3-A18B-12C4-9598CAF0842E}"/>
              </a:ext>
            </a:extLst>
          </p:cNvPr>
          <p:cNvSpPr/>
          <p:nvPr/>
        </p:nvSpPr>
        <p:spPr>
          <a:xfrm>
            <a:off x="6711517" y="2947681"/>
            <a:ext cx="4719874" cy="333358"/>
          </a:xfrm>
          <a:prstGeom prst="rect">
            <a:avLst/>
          </a:prstGeom>
          <a:solidFill>
            <a:srgbClr val="729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a:t>Corporate Governance and Resilience</a:t>
            </a:r>
          </a:p>
        </p:txBody>
      </p:sp>
      <p:pic>
        <p:nvPicPr>
          <p:cNvPr id="7" name="Picture 6">
            <a:extLst>
              <a:ext uri="{FF2B5EF4-FFF2-40B4-BE49-F238E27FC236}">
                <a16:creationId xmlns:a16="http://schemas.microsoft.com/office/drawing/2014/main" id="{AD247AE9-4E53-EFC5-3653-989C3636309F}"/>
              </a:ext>
            </a:extLst>
          </p:cNvPr>
          <p:cNvPicPr>
            <a:picLocks noChangeAspect="1"/>
          </p:cNvPicPr>
          <p:nvPr/>
        </p:nvPicPr>
        <p:blipFill>
          <a:blip r:embed="rId2"/>
          <a:stretch>
            <a:fillRect/>
          </a:stretch>
        </p:blipFill>
        <p:spPr>
          <a:xfrm>
            <a:off x="6711517" y="4460052"/>
            <a:ext cx="4719873" cy="1473686"/>
          </a:xfrm>
          <a:prstGeom prst="rect">
            <a:avLst/>
          </a:prstGeom>
        </p:spPr>
      </p:pic>
      <p:pic>
        <p:nvPicPr>
          <p:cNvPr id="14" name="Picture 13">
            <a:extLst>
              <a:ext uri="{FF2B5EF4-FFF2-40B4-BE49-F238E27FC236}">
                <a16:creationId xmlns:a16="http://schemas.microsoft.com/office/drawing/2014/main" id="{36615048-6B43-7001-3828-2F04E5E377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0655" y="5038873"/>
            <a:ext cx="1395623" cy="465208"/>
          </a:xfrm>
          <a:prstGeom prst="rect">
            <a:avLst/>
          </a:prstGeom>
        </p:spPr>
      </p:pic>
      <p:pic>
        <p:nvPicPr>
          <p:cNvPr id="17" name="Graphic 16">
            <a:extLst>
              <a:ext uri="{FF2B5EF4-FFF2-40B4-BE49-F238E27FC236}">
                <a16:creationId xmlns:a16="http://schemas.microsoft.com/office/drawing/2014/main" id="{36AC1A03-9C0F-CD12-7A5E-6D617B4C53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6969" y="4939395"/>
            <a:ext cx="404527" cy="655236"/>
          </a:xfrm>
          <a:prstGeom prst="rect">
            <a:avLst/>
          </a:prstGeom>
        </p:spPr>
      </p:pic>
      <p:pic>
        <p:nvPicPr>
          <p:cNvPr id="19" name="Graphic 18">
            <a:extLst>
              <a:ext uri="{FF2B5EF4-FFF2-40B4-BE49-F238E27FC236}">
                <a16:creationId xmlns:a16="http://schemas.microsoft.com/office/drawing/2014/main" id="{47E9AD06-3800-F4C8-CFB2-8168AD4CB2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87967" y="5095700"/>
            <a:ext cx="960743" cy="342626"/>
          </a:xfrm>
          <a:prstGeom prst="rect">
            <a:avLst/>
          </a:prstGeom>
        </p:spPr>
      </p:pic>
      <p:sp>
        <p:nvSpPr>
          <p:cNvPr id="21" name="TextBox 20">
            <a:extLst>
              <a:ext uri="{FF2B5EF4-FFF2-40B4-BE49-F238E27FC236}">
                <a16:creationId xmlns:a16="http://schemas.microsoft.com/office/drawing/2014/main" id="{9E51F782-6050-ABA6-990D-F7194E164AE4}"/>
              </a:ext>
            </a:extLst>
          </p:cNvPr>
          <p:cNvSpPr txBox="1"/>
          <p:nvPr/>
        </p:nvSpPr>
        <p:spPr>
          <a:xfrm>
            <a:off x="6627707" y="1222244"/>
            <a:ext cx="4887490" cy="369332"/>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a:lnSpc>
                <a:spcPct val="100000"/>
              </a:lnSpc>
            </a:pPr>
            <a:r>
              <a:rPr lang="en-US" sz="1800" b="1">
                <a:solidFill>
                  <a:srgbClr val="801619"/>
                </a:solidFill>
              </a:rPr>
              <a:t>Management System Certifications</a:t>
            </a:r>
          </a:p>
        </p:txBody>
      </p:sp>
      <p:sp>
        <p:nvSpPr>
          <p:cNvPr id="22" name="TextBox 21">
            <a:extLst>
              <a:ext uri="{FF2B5EF4-FFF2-40B4-BE49-F238E27FC236}">
                <a16:creationId xmlns:a16="http://schemas.microsoft.com/office/drawing/2014/main" id="{AE6FA8F9-ED6B-6A87-BC74-33E38FA12172}"/>
              </a:ext>
            </a:extLst>
          </p:cNvPr>
          <p:cNvSpPr txBox="1"/>
          <p:nvPr/>
        </p:nvSpPr>
        <p:spPr>
          <a:xfrm>
            <a:off x="10008067" y="315767"/>
            <a:ext cx="1466500" cy="246221"/>
          </a:xfrm>
          <a:prstGeom prst="rect">
            <a:avLst/>
          </a:prstGeom>
          <a:noFill/>
        </p:spPr>
        <p:txBody>
          <a:bodyPr wrap="square" rtlCol="0">
            <a:spAutoFit/>
          </a:bodyPr>
          <a:lstStyle/>
          <a:p>
            <a:pPr algn="r"/>
            <a:r>
              <a:rPr lang="en-GB" sz="1000" b="1">
                <a:solidFill>
                  <a:srgbClr val="801619"/>
                </a:solidFill>
                <a:latin typeface="Montserrat" panose="00000500000000000000" pitchFamily="2" charset="0"/>
              </a:rPr>
              <a:t>MSECB Webinar</a:t>
            </a:r>
            <a:endParaRPr lang="en-ID" sz="1000" b="1">
              <a:solidFill>
                <a:srgbClr val="801619"/>
              </a:solidFill>
              <a:latin typeface="Montserrat" panose="00000500000000000000" pitchFamily="2" charset="0"/>
            </a:endParaRPr>
          </a:p>
        </p:txBody>
      </p:sp>
      <p:sp>
        <p:nvSpPr>
          <p:cNvPr id="23" name="Circle: Hollow 22">
            <a:extLst>
              <a:ext uri="{FF2B5EF4-FFF2-40B4-BE49-F238E27FC236}">
                <a16:creationId xmlns:a16="http://schemas.microsoft.com/office/drawing/2014/main" id="{A4F40867-EF88-BD8F-71BF-11FFAA6DD01F}"/>
              </a:ext>
            </a:extLst>
          </p:cNvPr>
          <p:cNvSpPr/>
          <p:nvPr/>
        </p:nvSpPr>
        <p:spPr>
          <a:xfrm>
            <a:off x="10091933" y="369197"/>
            <a:ext cx="130628" cy="130628"/>
          </a:xfrm>
          <a:prstGeom prst="donut">
            <a:avLst>
              <a:gd name="adj" fmla="val 21959"/>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spTree>
    <p:extLst>
      <p:ext uri="{BB962C8B-B14F-4D97-AF65-F5344CB8AC3E}">
        <p14:creationId xmlns:p14="http://schemas.microsoft.com/office/powerpoint/2010/main" val="2782898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1000"/>
                                        <p:tgtEl>
                                          <p:spTgt spid="5"/>
                                        </p:tgtEl>
                                      </p:cBhvr>
                                    </p:animEffect>
                                  </p:childTnLst>
                                </p:cTn>
                              </p:par>
                              <p:par>
                                <p:cTn id="8" presetID="16" presetClass="entr" presetSubtype="37" fill="hold" grpId="0" nodeType="withEffect">
                                  <p:stCondLst>
                                    <p:cond delay="500"/>
                                  </p:stCondLst>
                                  <p:childTnLst>
                                    <p:set>
                                      <p:cBhvr>
                                        <p:cTn id="9" dur="1" fill="hold">
                                          <p:stCondLst>
                                            <p:cond delay="0"/>
                                          </p:stCondLst>
                                        </p:cTn>
                                        <p:tgtEl>
                                          <p:spTgt spid="15"/>
                                        </p:tgtEl>
                                        <p:attrNameLst>
                                          <p:attrName>style.visibility</p:attrName>
                                        </p:attrNameLst>
                                      </p:cBhvr>
                                      <p:to>
                                        <p:strVal val="visible"/>
                                      </p:to>
                                    </p:set>
                                    <p:animEffect transition="in" filter="barn(outVertical)">
                                      <p:cBhvr>
                                        <p:cTn id="10" dur="1000"/>
                                        <p:tgtEl>
                                          <p:spTgt spid="15"/>
                                        </p:tgtEl>
                                      </p:cBhvr>
                                    </p:animEffect>
                                  </p:childTnLst>
                                </p:cTn>
                              </p:par>
                              <p:par>
                                <p:cTn id="11" presetID="42" presetClass="entr" presetSubtype="0" fill="hold" nodeType="withEffect">
                                  <p:stCondLst>
                                    <p:cond delay="50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5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0"/>
                                        <p:tgtEl>
                                          <p:spTgt spid="14"/>
                                        </p:tgtEl>
                                      </p:cBhvr>
                                    </p:animEffect>
                                    <p:anim calcmode="lin" valueType="num">
                                      <p:cBhvr>
                                        <p:cTn id="19" dur="1000" fill="hold"/>
                                        <p:tgtEl>
                                          <p:spTgt spid="14"/>
                                        </p:tgtEl>
                                        <p:attrNameLst>
                                          <p:attrName>ppt_x</p:attrName>
                                        </p:attrNameLst>
                                      </p:cBhvr>
                                      <p:tavLst>
                                        <p:tav tm="0">
                                          <p:val>
                                            <p:strVal val="#ppt_x"/>
                                          </p:val>
                                        </p:tav>
                                        <p:tav tm="100000">
                                          <p:val>
                                            <p:strVal val="#ppt_x"/>
                                          </p:val>
                                        </p:tav>
                                      </p:tavLst>
                                    </p:anim>
                                    <p:anim calcmode="lin" valueType="num">
                                      <p:cBhvr>
                                        <p:cTn id="20" dur="1000" fill="hold"/>
                                        <p:tgtEl>
                                          <p:spTgt spid="14"/>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50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1000"/>
                                        <p:tgtEl>
                                          <p:spTgt spid="19"/>
                                        </p:tgtEl>
                                      </p:cBhvr>
                                    </p:animEffect>
                                    <p:anim calcmode="lin" valueType="num">
                                      <p:cBhvr>
                                        <p:cTn id="24" dur="1000" fill="hold"/>
                                        <p:tgtEl>
                                          <p:spTgt spid="19"/>
                                        </p:tgtEl>
                                        <p:attrNameLst>
                                          <p:attrName>ppt_x</p:attrName>
                                        </p:attrNameLst>
                                      </p:cBhvr>
                                      <p:tavLst>
                                        <p:tav tm="0">
                                          <p:val>
                                            <p:strVal val="#ppt_x"/>
                                          </p:val>
                                        </p:tav>
                                        <p:tav tm="100000">
                                          <p:val>
                                            <p:strVal val="#ppt_x"/>
                                          </p:val>
                                        </p:tav>
                                      </p:tavLst>
                                    </p:anim>
                                    <p:anim calcmode="lin" valueType="num">
                                      <p:cBhvr>
                                        <p:cTn id="25" dur="1000" fill="hold"/>
                                        <p:tgtEl>
                                          <p:spTgt spid="19"/>
                                        </p:tgtEl>
                                        <p:attrNameLst>
                                          <p:attrName>ppt_y</p:attrName>
                                        </p:attrNameLst>
                                      </p:cBhvr>
                                      <p:tavLst>
                                        <p:tav tm="0">
                                          <p:val>
                                            <p:strVal val="#ppt_y+.1"/>
                                          </p:val>
                                        </p:tav>
                                        <p:tav tm="100000">
                                          <p:val>
                                            <p:strVal val="#ppt_y"/>
                                          </p:val>
                                        </p:tav>
                                      </p:tavLst>
                                    </p:anim>
                                  </p:childTnLst>
                                </p:cTn>
                              </p:par>
                              <p:par>
                                <p:cTn id="26" presetID="47" presetClass="entr" presetSubtype="0" fill="hold" grpId="0" nodeType="withEffect">
                                  <p:stCondLst>
                                    <p:cond delay="100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1000"/>
                                        <p:tgtEl>
                                          <p:spTgt spid="21"/>
                                        </p:tgtEl>
                                      </p:cBhvr>
                                    </p:animEffect>
                                    <p:anim calcmode="lin" valueType="num">
                                      <p:cBhvr>
                                        <p:cTn id="29" dur="1000" fill="hold"/>
                                        <p:tgtEl>
                                          <p:spTgt spid="21"/>
                                        </p:tgtEl>
                                        <p:attrNameLst>
                                          <p:attrName>ppt_x</p:attrName>
                                        </p:attrNameLst>
                                      </p:cBhvr>
                                      <p:tavLst>
                                        <p:tav tm="0">
                                          <p:val>
                                            <p:strVal val="#ppt_x"/>
                                          </p:val>
                                        </p:tav>
                                        <p:tav tm="100000">
                                          <p:val>
                                            <p:strVal val="#ppt_x"/>
                                          </p:val>
                                        </p:tav>
                                      </p:tavLst>
                                    </p:anim>
                                    <p:anim calcmode="lin" valueType="num">
                                      <p:cBhvr>
                                        <p:cTn id="30" dur="1000" fill="hold"/>
                                        <p:tgtEl>
                                          <p:spTgt spid="21"/>
                                        </p:tgtEl>
                                        <p:attrNameLst>
                                          <p:attrName>ppt_y</p:attrName>
                                        </p:attrNameLst>
                                      </p:cBhvr>
                                      <p:tavLst>
                                        <p:tav tm="0">
                                          <p:val>
                                            <p:strVal val="#ppt_y-.1"/>
                                          </p:val>
                                        </p:tav>
                                        <p:tav tm="100000">
                                          <p:val>
                                            <p:strVal val="#ppt_y"/>
                                          </p:val>
                                        </p:tav>
                                      </p:tavLst>
                                    </p:anim>
                                  </p:childTnLst>
                                </p:cTn>
                              </p:par>
                              <p:par>
                                <p:cTn id="31" presetID="16" presetClass="entr" presetSubtype="37" fill="hold" grpId="0" nodeType="withEffect">
                                  <p:stCondLst>
                                    <p:cond delay="1750"/>
                                  </p:stCondLst>
                                  <p:childTnLst>
                                    <p:set>
                                      <p:cBhvr>
                                        <p:cTn id="32" dur="1" fill="hold">
                                          <p:stCondLst>
                                            <p:cond delay="0"/>
                                          </p:stCondLst>
                                        </p:cTn>
                                        <p:tgtEl>
                                          <p:spTgt spid="3"/>
                                        </p:tgtEl>
                                        <p:attrNameLst>
                                          <p:attrName>style.visibility</p:attrName>
                                        </p:attrNameLst>
                                      </p:cBhvr>
                                      <p:to>
                                        <p:strVal val="visible"/>
                                      </p:to>
                                    </p:set>
                                    <p:animEffect transition="in" filter="barn(outVertical)">
                                      <p:cBhvr>
                                        <p:cTn id="33" dur="1000"/>
                                        <p:tgtEl>
                                          <p:spTgt spid="3"/>
                                        </p:tgtEl>
                                      </p:cBhvr>
                                    </p:animEffect>
                                  </p:childTnLst>
                                </p:cTn>
                              </p:par>
                              <p:par>
                                <p:cTn id="34" presetID="16" presetClass="entr" presetSubtype="37" fill="hold" grpId="0" nodeType="withEffect">
                                  <p:stCondLst>
                                    <p:cond delay="1750"/>
                                  </p:stCondLst>
                                  <p:childTnLst>
                                    <p:set>
                                      <p:cBhvr>
                                        <p:cTn id="35" dur="1" fill="hold">
                                          <p:stCondLst>
                                            <p:cond delay="0"/>
                                          </p:stCondLst>
                                        </p:cTn>
                                        <p:tgtEl>
                                          <p:spTgt spid="4"/>
                                        </p:tgtEl>
                                        <p:attrNameLst>
                                          <p:attrName>style.visibility</p:attrName>
                                        </p:attrNameLst>
                                      </p:cBhvr>
                                      <p:to>
                                        <p:strVal val="visible"/>
                                      </p:to>
                                    </p:set>
                                    <p:animEffect transition="in" filter="barn(outVertical)">
                                      <p:cBhvr>
                                        <p:cTn id="36" dur="1000"/>
                                        <p:tgtEl>
                                          <p:spTgt spid="4"/>
                                        </p:tgtEl>
                                      </p:cBhvr>
                                    </p:animEffect>
                                  </p:childTnLst>
                                </p:cTn>
                              </p:par>
                              <p:par>
                                <p:cTn id="37" presetID="16" presetClass="entr" presetSubtype="37" fill="hold" grpId="0" nodeType="withEffect">
                                  <p:stCondLst>
                                    <p:cond delay="1750"/>
                                  </p:stCondLst>
                                  <p:childTnLst>
                                    <p:set>
                                      <p:cBhvr>
                                        <p:cTn id="38" dur="1" fill="hold">
                                          <p:stCondLst>
                                            <p:cond delay="0"/>
                                          </p:stCondLst>
                                        </p:cTn>
                                        <p:tgtEl>
                                          <p:spTgt spid="6"/>
                                        </p:tgtEl>
                                        <p:attrNameLst>
                                          <p:attrName>style.visibility</p:attrName>
                                        </p:attrNameLst>
                                      </p:cBhvr>
                                      <p:to>
                                        <p:strVal val="visible"/>
                                      </p:to>
                                    </p:set>
                                    <p:animEffect transition="in" filter="barn(outVertical)">
                                      <p:cBhvr>
                                        <p:cTn id="39" dur="1000"/>
                                        <p:tgtEl>
                                          <p:spTgt spid="6"/>
                                        </p:tgtEl>
                                      </p:cBhvr>
                                    </p:animEffect>
                                  </p:childTnLst>
                                </p:cTn>
                              </p:par>
                              <p:par>
                                <p:cTn id="40" presetID="16" presetClass="entr" presetSubtype="21" fill="hold" nodeType="withEffect">
                                  <p:stCondLst>
                                    <p:cond delay="2250"/>
                                  </p:stCondLst>
                                  <p:childTnLst>
                                    <p:set>
                                      <p:cBhvr>
                                        <p:cTn id="41" dur="1" fill="hold">
                                          <p:stCondLst>
                                            <p:cond delay="0"/>
                                          </p:stCondLst>
                                        </p:cTn>
                                        <p:tgtEl>
                                          <p:spTgt spid="7"/>
                                        </p:tgtEl>
                                        <p:attrNameLst>
                                          <p:attrName>style.visibility</p:attrName>
                                        </p:attrNameLst>
                                      </p:cBhvr>
                                      <p:to>
                                        <p:strVal val="visible"/>
                                      </p:to>
                                    </p:set>
                                    <p:animEffect transition="in" filter="barn(inVertical)">
                                      <p:cBhvr>
                                        <p:cTn id="42"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p:bldP spid="3" grpId="0" animBg="1"/>
      <p:bldP spid="4" grpId="0" animBg="1"/>
      <p:bldP spid="6" grpId="0" animBg="1"/>
      <p:bldP spid="2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B3E3E6E-2A02-7337-A27C-C6EE5EB674DC}"/>
              </a:ext>
            </a:extLst>
          </p:cNvPr>
          <p:cNvSpPr/>
          <p:nvPr/>
        </p:nvSpPr>
        <p:spPr>
          <a:xfrm>
            <a:off x="6929306" y="0"/>
            <a:ext cx="5262694"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3DBC9E3-84A4-4CAE-8363-CC0A0E38B3BE}"/>
              </a:ext>
            </a:extLst>
          </p:cNvPr>
          <p:cNvSpPr/>
          <p:nvPr/>
        </p:nvSpPr>
        <p:spPr>
          <a:xfrm>
            <a:off x="0" y="1775792"/>
            <a:ext cx="914398" cy="35222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6" name="TextBox 15">
            <a:extLst>
              <a:ext uri="{FF2B5EF4-FFF2-40B4-BE49-F238E27FC236}">
                <a16:creationId xmlns:a16="http://schemas.microsoft.com/office/drawing/2014/main" id="{0E8C40D3-BC7D-46AD-9096-26D3079EC99A}"/>
              </a:ext>
            </a:extLst>
          </p:cNvPr>
          <p:cNvSpPr txBox="1"/>
          <p:nvPr/>
        </p:nvSpPr>
        <p:spPr>
          <a:xfrm>
            <a:off x="1091959" y="1709670"/>
            <a:ext cx="3888008" cy="954107"/>
          </a:xfrm>
          <a:prstGeom prst="rect">
            <a:avLst/>
          </a:prstGeom>
          <a:noFill/>
        </p:spPr>
        <p:txBody>
          <a:bodyPr wrap="square" rtlCol="0">
            <a:spAutoFit/>
          </a:bodyPr>
          <a:lstStyle/>
          <a:p>
            <a:r>
              <a:rPr lang="en-US" sz="2800" b="1">
                <a:latin typeface="+mj-lt"/>
              </a:rPr>
              <a:t>Background of </a:t>
            </a:r>
          </a:p>
          <a:p>
            <a:r>
              <a:rPr lang="en-US" sz="2800" b="1">
                <a:solidFill>
                  <a:srgbClr val="8E0000"/>
                </a:solidFill>
                <a:latin typeface="+mj-lt"/>
              </a:rPr>
              <a:t>Graeme Parker</a:t>
            </a:r>
            <a:endParaRPr lang="en-ID" sz="2800" b="1">
              <a:solidFill>
                <a:srgbClr val="8E0000"/>
              </a:solidFill>
              <a:latin typeface="+mj-lt"/>
            </a:endParaRPr>
          </a:p>
        </p:txBody>
      </p:sp>
      <p:sp>
        <p:nvSpPr>
          <p:cNvPr id="19" name="TextBox 18">
            <a:extLst>
              <a:ext uri="{FF2B5EF4-FFF2-40B4-BE49-F238E27FC236}">
                <a16:creationId xmlns:a16="http://schemas.microsoft.com/office/drawing/2014/main" id="{6D59E5B1-17F5-45E4-B46B-A681D9434084}"/>
              </a:ext>
            </a:extLst>
          </p:cNvPr>
          <p:cNvSpPr txBox="1"/>
          <p:nvPr/>
        </p:nvSpPr>
        <p:spPr>
          <a:xfrm>
            <a:off x="1091959" y="2743470"/>
            <a:ext cx="5004041" cy="2584875"/>
          </a:xfrm>
          <a:prstGeom prst="rect">
            <a:avLst/>
          </a:prstGeom>
          <a:noFill/>
        </p:spPr>
        <p:txBody>
          <a:bodyPr wrap="square">
            <a:spAutoFit/>
          </a:bodyPr>
          <a:lstStyle/>
          <a:p>
            <a:pPr>
              <a:lnSpc>
                <a:spcPct val="150000"/>
              </a:lnSpc>
              <a:spcAft>
                <a:spcPts val="1200"/>
              </a:spcAft>
            </a:pPr>
            <a:r>
              <a:rPr lang="en-US" sz="1200" b="1" dirty="0"/>
              <a:t>Graeme Parker</a:t>
            </a:r>
            <a:r>
              <a:rPr lang="en-US" sz="1200" dirty="0"/>
              <a:t> has proven experience working with multiple management systems and risk management frameworks.</a:t>
            </a:r>
          </a:p>
          <a:p>
            <a:pPr>
              <a:lnSpc>
                <a:spcPct val="150000"/>
              </a:lnSpc>
              <a:spcAft>
                <a:spcPts val="1200"/>
              </a:spcAft>
            </a:pPr>
            <a:r>
              <a:rPr lang="en-US" sz="1200" dirty="0"/>
              <a:t>Since 2017, he has been conducting audits on behalf of MSECB for the following standards: ISO 9001, ISO/IEC 20000-1, ISO 20121, ISO 22301, ISO/IEC 27001, ISO/IEC 27701, and CSA STAR.</a:t>
            </a:r>
          </a:p>
          <a:p>
            <a:pPr>
              <a:lnSpc>
                <a:spcPct val="150000"/>
              </a:lnSpc>
            </a:pPr>
            <a:r>
              <a:rPr lang="en-US" sz="1200" dirty="0"/>
              <a:t>Furthermore, Mr. Parker has international experience, having delivered projects and audits in over twenty-five countries worldwide.</a:t>
            </a:r>
          </a:p>
        </p:txBody>
      </p:sp>
      <p:sp>
        <p:nvSpPr>
          <p:cNvPr id="4" name="TextBox 3">
            <a:extLst>
              <a:ext uri="{FF2B5EF4-FFF2-40B4-BE49-F238E27FC236}">
                <a16:creationId xmlns:a16="http://schemas.microsoft.com/office/drawing/2014/main" id="{5CE281DA-BC8E-62BB-DFEE-EEB402231A99}"/>
              </a:ext>
            </a:extLst>
          </p:cNvPr>
          <p:cNvSpPr txBox="1"/>
          <p:nvPr/>
        </p:nvSpPr>
        <p:spPr>
          <a:xfrm>
            <a:off x="10008067" y="315767"/>
            <a:ext cx="1466500" cy="246221"/>
          </a:xfrm>
          <a:prstGeom prst="rect">
            <a:avLst/>
          </a:prstGeom>
          <a:noFill/>
        </p:spPr>
        <p:txBody>
          <a:bodyPr wrap="square" rtlCol="0">
            <a:spAutoFit/>
          </a:bodyPr>
          <a:lstStyle/>
          <a:p>
            <a:pPr algn="r"/>
            <a:r>
              <a:rPr lang="en-GB" sz="1000" b="1">
                <a:solidFill>
                  <a:schemeClr val="bg1"/>
                </a:solidFill>
                <a:latin typeface="Montserrat" panose="00000500000000000000" pitchFamily="2" charset="0"/>
              </a:rPr>
              <a:t>MSECB Webinar</a:t>
            </a:r>
            <a:endParaRPr lang="en-ID" sz="1000" b="1">
              <a:solidFill>
                <a:schemeClr val="bg1"/>
              </a:solidFill>
              <a:latin typeface="Montserrat" panose="00000500000000000000" pitchFamily="2" charset="0"/>
            </a:endParaRPr>
          </a:p>
        </p:txBody>
      </p:sp>
      <p:sp>
        <p:nvSpPr>
          <p:cNvPr id="5" name="Circle: Hollow 4">
            <a:extLst>
              <a:ext uri="{FF2B5EF4-FFF2-40B4-BE49-F238E27FC236}">
                <a16:creationId xmlns:a16="http://schemas.microsoft.com/office/drawing/2014/main" id="{C90C1B17-39EB-4B29-278F-416FAA078786}"/>
              </a:ext>
            </a:extLst>
          </p:cNvPr>
          <p:cNvSpPr/>
          <p:nvPr/>
        </p:nvSpPr>
        <p:spPr>
          <a:xfrm>
            <a:off x="10091933" y="369197"/>
            <a:ext cx="130628" cy="130628"/>
          </a:xfrm>
          <a:prstGeom prst="donut">
            <a:avLst>
              <a:gd name="adj" fmla="val 219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pic>
        <p:nvPicPr>
          <p:cNvPr id="6" name="Picture Placeholder 3">
            <a:extLst>
              <a:ext uri="{FF2B5EF4-FFF2-40B4-BE49-F238E27FC236}">
                <a16:creationId xmlns:a16="http://schemas.microsoft.com/office/drawing/2014/main" id="{135EF1CE-08BB-AF25-1649-F843B44ED88E}"/>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9966" r="9966"/>
          <a:stretch/>
        </p:blipFill>
        <p:spPr/>
      </p:pic>
    </p:spTree>
    <p:extLst>
      <p:ext uri="{BB962C8B-B14F-4D97-AF65-F5344CB8AC3E}">
        <p14:creationId xmlns:p14="http://schemas.microsoft.com/office/powerpoint/2010/main" val="2112361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0-#ppt_w/2"/>
                                          </p:val>
                                        </p:tav>
                                        <p:tav tm="100000">
                                          <p:val>
                                            <p:strVal val="#ppt_x"/>
                                          </p:val>
                                        </p:tav>
                                      </p:tavLst>
                                    </p:anim>
                                    <p:anim calcmode="lin" valueType="num">
                                      <p:cBhvr additive="base">
                                        <p:cTn id="8" dur="750" fill="hold"/>
                                        <p:tgtEl>
                                          <p:spTgt spid="16"/>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7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0-#ppt_w/2"/>
                                          </p:val>
                                        </p:tav>
                                        <p:tav tm="100000">
                                          <p:val>
                                            <p:strVal val="#ppt_x"/>
                                          </p:val>
                                        </p:tav>
                                      </p:tavLst>
                                    </p:anim>
                                    <p:anim calcmode="lin" valueType="num">
                                      <p:cBhvr additive="base">
                                        <p:cTn id="12" dur="75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15CC12E-2D07-4679-B886-149E11CD98B0}"/>
              </a:ext>
            </a:extLst>
          </p:cNvPr>
          <p:cNvSpPr txBox="1"/>
          <p:nvPr/>
        </p:nvSpPr>
        <p:spPr>
          <a:xfrm>
            <a:off x="2822631" y="1518384"/>
            <a:ext cx="6693381" cy="1631216"/>
          </a:xfrm>
          <a:prstGeom prst="rect">
            <a:avLst/>
          </a:prstGeom>
          <a:noFill/>
        </p:spPr>
        <p:txBody>
          <a:bodyPr wrap="square" rtlCol="0">
            <a:spAutoFit/>
          </a:bodyPr>
          <a:lstStyle/>
          <a:p>
            <a:pPr algn="ctr"/>
            <a:r>
              <a:rPr lang="en-US" sz="5000" b="1" dirty="0">
                <a:solidFill>
                  <a:srgbClr val="801619"/>
                </a:solidFill>
                <a:latin typeface="+mj-lt"/>
              </a:rPr>
              <a:t>Thank you for your attention! </a:t>
            </a:r>
          </a:p>
        </p:txBody>
      </p:sp>
      <p:grpSp>
        <p:nvGrpSpPr>
          <p:cNvPr id="6" name="Group 5">
            <a:extLst>
              <a:ext uri="{FF2B5EF4-FFF2-40B4-BE49-F238E27FC236}">
                <a16:creationId xmlns:a16="http://schemas.microsoft.com/office/drawing/2014/main" id="{9B243A31-7022-A2CE-F603-E286E2B01F59}"/>
              </a:ext>
            </a:extLst>
          </p:cNvPr>
          <p:cNvGrpSpPr/>
          <p:nvPr/>
        </p:nvGrpSpPr>
        <p:grpSpPr>
          <a:xfrm>
            <a:off x="4445296" y="3891401"/>
            <a:ext cx="3448050" cy="2266719"/>
            <a:chOff x="4216533" y="3897289"/>
            <a:chExt cx="3448050" cy="2266719"/>
          </a:xfrm>
        </p:grpSpPr>
        <p:sp>
          <p:nvSpPr>
            <p:cNvPr id="11" name="TextBox 12">
              <a:extLst>
                <a:ext uri="{FF2B5EF4-FFF2-40B4-BE49-F238E27FC236}">
                  <a16:creationId xmlns:a16="http://schemas.microsoft.com/office/drawing/2014/main" id="{4A467C9C-1D5E-4786-A12A-4E3536C9D67E}"/>
                </a:ext>
              </a:extLst>
            </p:cNvPr>
            <p:cNvSpPr txBox="1">
              <a:spLocks noChangeArrowheads="1"/>
            </p:cNvSpPr>
            <p:nvPr/>
          </p:nvSpPr>
          <p:spPr bwMode="auto">
            <a:xfrm>
              <a:off x="4216533" y="3897289"/>
              <a:ext cx="3448050" cy="74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Lato" panose="020F0502020204030203" pitchFamily="34" charset="0"/>
                </a:defRPr>
              </a:lvl1pPr>
              <a:lvl2pPr marL="742950" indent="-285750">
                <a:defRPr>
                  <a:solidFill>
                    <a:schemeClr val="tx1"/>
                  </a:solidFill>
                  <a:latin typeface="Lato" panose="020F0502020204030203" pitchFamily="34" charset="0"/>
                </a:defRPr>
              </a:lvl2pPr>
              <a:lvl3pPr marL="1143000" indent="-228600">
                <a:defRPr>
                  <a:solidFill>
                    <a:schemeClr val="tx1"/>
                  </a:solidFill>
                  <a:latin typeface="Lato" panose="020F0502020204030203" pitchFamily="34" charset="0"/>
                </a:defRPr>
              </a:lvl3pPr>
              <a:lvl4pPr marL="1600200" indent="-228600">
                <a:defRPr>
                  <a:solidFill>
                    <a:schemeClr val="tx1"/>
                  </a:solidFill>
                  <a:latin typeface="Lato" panose="020F0502020204030203" pitchFamily="34" charset="0"/>
                </a:defRPr>
              </a:lvl4pPr>
              <a:lvl5pPr marL="2057400" indent="-228600">
                <a:defRPr>
                  <a:solidFill>
                    <a:schemeClr val="tx1"/>
                  </a:solidFill>
                  <a:latin typeface="Lato" panose="020F0502020204030203" pitchFamily="34" charset="0"/>
                </a:defRPr>
              </a:lvl5pPr>
              <a:lvl6pPr marL="2514600" indent="-228600" fontAlgn="base">
                <a:spcBef>
                  <a:spcPct val="0"/>
                </a:spcBef>
                <a:spcAft>
                  <a:spcPct val="0"/>
                </a:spcAft>
                <a:defRPr>
                  <a:solidFill>
                    <a:schemeClr val="tx1"/>
                  </a:solidFill>
                  <a:latin typeface="Lato" panose="020F0502020204030203" pitchFamily="34" charset="0"/>
                </a:defRPr>
              </a:lvl6pPr>
              <a:lvl7pPr marL="2971800" indent="-228600" fontAlgn="base">
                <a:spcBef>
                  <a:spcPct val="0"/>
                </a:spcBef>
                <a:spcAft>
                  <a:spcPct val="0"/>
                </a:spcAft>
                <a:defRPr>
                  <a:solidFill>
                    <a:schemeClr val="tx1"/>
                  </a:solidFill>
                  <a:latin typeface="Lato" panose="020F0502020204030203" pitchFamily="34" charset="0"/>
                </a:defRPr>
              </a:lvl7pPr>
              <a:lvl8pPr marL="3429000" indent="-228600" fontAlgn="base">
                <a:spcBef>
                  <a:spcPct val="0"/>
                </a:spcBef>
                <a:spcAft>
                  <a:spcPct val="0"/>
                </a:spcAft>
                <a:defRPr>
                  <a:solidFill>
                    <a:schemeClr val="tx1"/>
                  </a:solidFill>
                  <a:latin typeface="Lato" panose="020F0502020204030203" pitchFamily="34" charset="0"/>
                </a:defRPr>
              </a:lvl8pPr>
              <a:lvl9pPr marL="3886200" indent="-228600" fontAlgn="base">
                <a:spcBef>
                  <a:spcPct val="0"/>
                </a:spcBef>
                <a:spcAft>
                  <a:spcPct val="0"/>
                </a:spcAft>
                <a:defRPr>
                  <a:solidFill>
                    <a:schemeClr val="tx1"/>
                  </a:solidFill>
                  <a:latin typeface="Lato" panose="020F0502020204030203" pitchFamily="34" charset="0"/>
                </a:defRPr>
              </a:lvl9pPr>
            </a:lstStyle>
            <a:p>
              <a:pPr algn="ctr" eaLnBrk="1" hangingPunct="1">
                <a:lnSpc>
                  <a:spcPct val="150000"/>
                </a:lnSpc>
                <a:spcBef>
                  <a:spcPts val="1800"/>
                </a:spcBef>
                <a:spcAft>
                  <a:spcPts val="1800"/>
                </a:spcAft>
              </a:pPr>
              <a:r>
                <a:rPr lang="en-US" altLang="en-US" sz="3200" b="1" dirty="0">
                  <a:solidFill>
                    <a:schemeClr val="accent5"/>
                  </a:solidFill>
                  <a:latin typeface="+mn-lt"/>
                  <a:cs typeface="Times New Roman" panose="02020603050405020304" pitchFamily="18" charset="0"/>
                </a:rPr>
                <a:t>Stay updated!</a:t>
              </a:r>
              <a:endParaRPr lang="id-ID" altLang="en-US" sz="3200" b="1" dirty="0">
                <a:solidFill>
                  <a:schemeClr val="accent5"/>
                </a:solidFill>
                <a:latin typeface="+mn-lt"/>
                <a:cs typeface="Times New Roman" panose="02020603050405020304" pitchFamily="18" charset="0"/>
              </a:endParaRPr>
            </a:p>
          </p:txBody>
        </p:sp>
        <p:grpSp>
          <p:nvGrpSpPr>
            <p:cNvPr id="4" name="Group 3">
              <a:extLst>
                <a:ext uri="{FF2B5EF4-FFF2-40B4-BE49-F238E27FC236}">
                  <a16:creationId xmlns:a16="http://schemas.microsoft.com/office/drawing/2014/main" id="{4F3B8ACE-DBC2-413A-115D-6568ABA08DA2}"/>
                </a:ext>
              </a:extLst>
            </p:cNvPr>
            <p:cNvGrpSpPr/>
            <p:nvPr/>
          </p:nvGrpSpPr>
          <p:grpSpPr>
            <a:xfrm>
              <a:off x="5602625" y="5897949"/>
              <a:ext cx="675866" cy="266059"/>
              <a:chOff x="7672344" y="5791417"/>
              <a:chExt cx="675866" cy="266059"/>
            </a:xfrm>
          </p:grpSpPr>
          <p:pic>
            <p:nvPicPr>
              <p:cNvPr id="31" name="Picture 30" descr="A white letter on a black background&#10;&#10;Description automatically generated with low confidence">
                <a:hlinkClick r:id="rId3"/>
                <a:extLst>
                  <a:ext uri="{FF2B5EF4-FFF2-40B4-BE49-F238E27FC236}">
                    <a16:creationId xmlns:a16="http://schemas.microsoft.com/office/drawing/2014/main" id="{7E67A423-3F4B-D9FC-92E9-A6FA2145B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2344" y="5791417"/>
                <a:ext cx="242294" cy="242294"/>
              </a:xfrm>
              <a:prstGeom prst="rect">
                <a:avLst/>
              </a:prstGeom>
            </p:spPr>
          </p:pic>
          <p:pic>
            <p:nvPicPr>
              <p:cNvPr id="33" name="Picture 32" descr="A white letter f on a black background&#10;&#10;Description automatically generated">
                <a:hlinkClick r:id="rId5"/>
                <a:extLst>
                  <a:ext uri="{FF2B5EF4-FFF2-40B4-BE49-F238E27FC236}">
                    <a16:creationId xmlns:a16="http://schemas.microsoft.com/office/drawing/2014/main" id="{4580935F-AC8F-08FB-852A-06AE021A21F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83599" y="5815182"/>
                <a:ext cx="264611" cy="242294"/>
              </a:xfrm>
              <a:prstGeom prst="rect">
                <a:avLst/>
              </a:prstGeom>
            </p:spPr>
          </p:pic>
        </p:grpSp>
        <p:sp>
          <p:nvSpPr>
            <p:cNvPr id="3" name="TextBox 2">
              <a:extLst>
                <a:ext uri="{FF2B5EF4-FFF2-40B4-BE49-F238E27FC236}">
                  <a16:creationId xmlns:a16="http://schemas.microsoft.com/office/drawing/2014/main" id="{6AF03383-76C7-2EF1-BD6B-B24DEBC9C36F}"/>
                </a:ext>
              </a:extLst>
            </p:cNvPr>
            <p:cNvSpPr txBox="1"/>
            <p:nvPr/>
          </p:nvSpPr>
          <p:spPr>
            <a:xfrm>
              <a:off x="5096023" y="4763640"/>
              <a:ext cx="1689070" cy="1015663"/>
            </a:xfrm>
            <a:prstGeom prst="rect">
              <a:avLst/>
            </a:prstGeom>
            <a:noFill/>
          </p:spPr>
          <p:txBody>
            <a:bodyPr wrap="square">
              <a:spAutoFit/>
            </a:bodyPr>
            <a:lstStyle/>
            <a:p>
              <a:pPr algn="ctr"/>
              <a:r>
                <a:rPr lang="en-US" sz="1200" dirty="0">
                  <a:solidFill>
                    <a:schemeClr val="bg1"/>
                  </a:solidFill>
                </a:rPr>
                <a:t>+1 (450) 328-1227</a:t>
              </a:r>
            </a:p>
            <a:p>
              <a:pPr algn="ctr"/>
              <a:endParaRPr lang="en-US" sz="1200" dirty="0">
                <a:solidFill>
                  <a:schemeClr val="bg1"/>
                </a:solidFill>
              </a:endParaRPr>
            </a:p>
            <a:p>
              <a:pPr algn="ctr"/>
              <a:r>
                <a:rPr lang="en-US" sz="1200" dirty="0">
                  <a:solidFill>
                    <a:schemeClr val="bg1"/>
                  </a:solidFill>
                  <a:hlinkClick r:id="rId7"/>
                </a:rPr>
                <a:t>info@msecb.com</a:t>
              </a:r>
              <a:endParaRPr lang="en-US" sz="1200" dirty="0">
                <a:solidFill>
                  <a:schemeClr val="bg1"/>
                </a:solidFill>
              </a:endParaRPr>
            </a:p>
            <a:p>
              <a:pPr algn="ctr"/>
              <a:endParaRPr lang="en-US" sz="1200" dirty="0">
                <a:solidFill>
                  <a:schemeClr val="bg1"/>
                </a:solidFill>
              </a:endParaRPr>
            </a:p>
            <a:p>
              <a:pPr algn="ctr"/>
              <a:r>
                <a:rPr lang="en-US" sz="1200" dirty="0">
                  <a:solidFill>
                    <a:schemeClr val="bg1"/>
                  </a:solidFill>
                </a:rPr>
                <a:t>www.msecb.com</a:t>
              </a:r>
              <a:endParaRPr lang="en-GB" sz="1200" dirty="0">
                <a:solidFill>
                  <a:schemeClr val="bg1"/>
                </a:solidFill>
              </a:endParaRPr>
            </a:p>
          </p:txBody>
        </p:sp>
      </p:grpSp>
    </p:spTree>
    <p:extLst>
      <p:ext uri="{BB962C8B-B14F-4D97-AF65-F5344CB8AC3E}">
        <p14:creationId xmlns:p14="http://schemas.microsoft.com/office/powerpoint/2010/main" val="1895001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1000" fill="hold"/>
                                        <p:tgtEl>
                                          <p:spTgt spid="6"/>
                                        </p:tgtEl>
                                        <p:attrNameLst>
                                          <p:attrName>ppt_x</p:attrName>
                                        </p:attrNameLst>
                                      </p:cBhvr>
                                      <p:tavLst>
                                        <p:tav tm="0">
                                          <p:val>
                                            <p:strVal val="1+#ppt_w/2"/>
                                          </p:val>
                                        </p:tav>
                                        <p:tav tm="100000">
                                          <p:val>
                                            <p:strVal val="#ppt_x"/>
                                          </p:val>
                                        </p:tav>
                                      </p:tavLst>
                                    </p:anim>
                                    <p:anim calcmode="lin" valueType="num">
                                      <p:cBhvr additive="base">
                                        <p:cTn id="12"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3D721E-13B4-0304-3648-D240C122CE2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982671"/>
            <a:ext cx="12188568" cy="8134544"/>
          </a:xfrm>
          <a:prstGeom prst="rect">
            <a:avLst/>
          </a:prstGeom>
        </p:spPr>
      </p:pic>
      <p:sp>
        <p:nvSpPr>
          <p:cNvPr id="4" name="Rectangle 3">
            <a:extLst>
              <a:ext uri="{FF2B5EF4-FFF2-40B4-BE49-F238E27FC236}">
                <a16:creationId xmlns:a16="http://schemas.microsoft.com/office/drawing/2014/main" id="{5E3CBDA2-7255-1B92-403F-E3EFF62B66D0}"/>
              </a:ext>
            </a:extLst>
          </p:cNvPr>
          <p:cNvSpPr/>
          <p:nvPr/>
        </p:nvSpPr>
        <p:spPr>
          <a:xfrm>
            <a:off x="0" y="2233508"/>
            <a:ext cx="12230085" cy="4918365"/>
          </a:xfrm>
          <a:prstGeom prst="rect">
            <a:avLst/>
          </a:prstGeom>
          <a:gradFill flip="none" rotWithShape="1">
            <a:gsLst>
              <a:gs pos="0">
                <a:schemeClr val="tx1">
                  <a:alpha val="0"/>
                </a:schemeClr>
              </a:gs>
              <a:gs pos="77000">
                <a:schemeClr val="tx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34DC3C6D-6FD6-43F5-B034-C60170C1DD4D}"/>
              </a:ext>
            </a:extLst>
          </p:cNvPr>
          <p:cNvSpPr txBox="1"/>
          <p:nvPr/>
        </p:nvSpPr>
        <p:spPr>
          <a:xfrm>
            <a:off x="1063863" y="4962620"/>
            <a:ext cx="6860937" cy="830997"/>
          </a:xfrm>
          <a:prstGeom prst="rect">
            <a:avLst/>
          </a:prstGeom>
          <a:noFill/>
        </p:spPr>
        <p:txBody>
          <a:bodyPr wrap="square" rtlCol="0">
            <a:spAutoFit/>
          </a:bodyPr>
          <a:lstStyle/>
          <a:p>
            <a:r>
              <a:rPr lang="en-US" sz="4800" b="1">
                <a:solidFill>
                  <a:schemeClr val="accent5"/>
                </a:solidFill>
                <a:latin typeface="+mj-lt"/>
              </a:rPr>
              <a:t>ISO 20121 Principles</a:t>
            </a:r>
          </a:p>
        </p:txBody>
      </p:sp>
      <p:sp>
        <p:nvSpPr>
          <p:cNvPr id="8" name="Rectangle 7">
            <a:extLst>
              <a:ext uri="{FF2B5EF4-FFF2-40B4-BE49-F238E27FC236}">
                <a16:creationId xmlns:a16="http://schemas.microsoft.com/office/drawing/2014/main" id="{9A48E439-CFC8-693F-CF31-D6D5F01FC8EC}"/>
              </a:ext>
            </a:extLst>
          </p:cNvPr>
          <p:cNvSpPr/>
          <p:nvPr/>
        </p:nvSpPr>
        <p:spPr>
          <a:xfrm>
            <a:off x="873918" y="4962620"/>
            <a:ext cx="45719" cy="21892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9DEA8876-B510-9187-27D1-5D5F5F39AE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Tree>
    <p:extLst>
      <p:ext uri="{BB962C8B-B14F-4D97-AF65-F5344CB8AC3E}">
        <p14:creationId xmlns:p14="http://schemas.microsoft.com/office/powerpoint/2010/main" val="3169204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0-#ppt_w/2"/>
                                          </p:val>
                                        </p:tav>
                                        <p:tav tm="100000">
                                          <p:val>
                                            <p:strVal val="#ppt_x"/>
                                          </p:val>
                                        </p:tav>
                                      </p:tavLst>
                                    </p:anim>
                                    <p:anim calcmode="lin" valueType="num">
                                      <p:cBhvr additive="base">
                                        <p:cTn id="8" dur="75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559A69-F753-8F80-EDD6-7D7E41E9F193}"/>
              </a:ext>
            </a:extLst>
          </p:cNvPr>
          <p:cNvSpPr/>
          <p:nvPr/>
        </p:nvSpPr>
        <p:spPr>
          <a:xfrm>
            <a:off x="0" y="0"/>
            <a:ext cx="3498209"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D30D053-D0E9-44FB-8AE6-0F71A690D06D}"/>
              </a:ext>
            </a:extLst>
          </p:cNvPr>
          <p:cNvSpPr txBox="1"/>
          <p:nvPr/>
        </p:nvSpPr>
        <p:spPr>
          <a:xfrm>
            <a:off x="10459393" y="5610474"/>
            <a:ext cx="835059" cy="261610"/>
          </a:xfrm>
          <a:prstGeom prst="rect">
            <a:avLst/>
          </a:prstGeom>
          <a:noFill/>
        </p:spPr>
        <p:txBody>
          <a:bodyPr wrap="square" rtlCol="0">
            <a:spAutoFit/>
          </a:bodyPr>
          <a:lstStyle/>
          <a:p>
            <a:pPr algn="r"/>
            <a:r>
              <a:rPr lang="en-GB" sz="1100" b="1">
                <a:solidFill>
                  <a:schemeClr val="accent5"/>
                </a:solidFill>
              </a:rPr>
              <a:t>Page </a:t>
            </a:r>
            <a:fld id="{31162368-E213-4388-85D6-4D6322C03159}" type="slidenum">
              <a:rPr lang="en-GB" sz="1100" b="1" smtClean="0">
                <a:solidFill>
                  <a:schemeClr val="accent5"/>
                </a:solidFill>
              </a:rPr>
              <a:pPr algn="r"/>
              <a:t>5</a:t>
            </a:fld>
            <a:endParaRPr lang="en-ID" sz="1100" b="1">
              <a:solidFill>
                <a:schemeClr val="accent5"/>
              </a:solidFill>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4405204" y="985916"/>
            <a:ext cx="6750016" cy="523220"/>
          </a:xfrm>
          <a:prstGeom prst="rect">
            <a:avLst/>
          </a:prstGeom>
          <a:noFill/>
        </p:spPr>
        <p:txBody>
          <a:bodyPr wrap="square" rtlCol="0">
            <a:spAutoFit/>
          </a:bodyPr>
          <a:lstStyle/>
          <a:p>
            <a:r>
              <a:rPr lang="en-US" sz="2800" b="1" dirty="0">
                <a:solidFill>
                  <a:srgbClr val="801619"/>
                </a:solidFill>
                <a:latin typeface="+mj-lt"/>
              </a:rPr>
              <a:t>What is ISO 20121?</a:t>
            </a:r>
            <a:endParaRPr lang="en-ID" sz="2800" b="1" dirty="0">
              <a:solidFill>
                <a:srgbClr val="801619"/>
              </a:solidFill>
              <a:latin typeface="+mj-lt"/>
            </a:endParaRPr>
          </a:p>
        </p:txBody>
      </p:sp>
      <p:sp>
        <p:nvSpPr>
          <p:cNvPr id="14" name="TextBox 13">
            <a:extLst>
              <a:ext uri="{FF2B5EF4-FFF2-40B4-BE49-F238E27FC236}">
                <a16:creationId xmlns:a16="http://schemas.microsoft.com/office/drawing/2014/main" id="{53C2D7D9-7F5F-47A2-AFFF-81AB26473591}"/>
              </a:ext>
            </a:extLst>
          </p:cNvPr>
          <p:cNvSpPr txBox="1"/>
          <p:nvPr/>
        </p:nvSpPr>
        <p:spPr>
          <a:xfrm>
            <a:off x="4698554" y="2077337"/>
            <a:ext cx="5895771" cy="2831096"/>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marL="228600" indent="-228600">
              <a:buFont typeface="+mj-lt"/>
              <a:buAutoNum type="arabicPeriod"/>
            </a:pPr>
            <a:r>
              <a:rPr lang="en-US" sz="1200" dirty="0">
                <a:solidFill>
                  <a:schemeClr val="tx1"/>
                </a:solidFill>
              </a:rPr>
              <a:t>Event organizers to establish processes and controls to deliver and measure the sustainability of single or multiple events.</a:t>
            </a:r>
          </a:p>
          <a:p>
            <a:pPr marL="228600" indent="-228600">
              <a:buFont typeface="+mj-lt"/>
              <a:buAutoNum type="arabicPeriod"/>
            </a:pPr>
            <a:r>
              <a:rPr lang="en-US" sz="1200" dirty="0">
                <a:solidFill>
                  <a:schemeClr val="tx1"/>
                </a:solidFill>
              </a:rPr>
              <a:t>Oversight of key sustainability principles related to events covering environmental matters, biodiversity, energy management alongside economic and societal aspects.</a:t>
            </a:r>
          </a:p>
          <a:p>
            <a:pPr marL="228600" indent="-228600">
              <a:buFont typeface="+mj-lt"/>
              <a:buAutoNum type="arabicPeriod"/>
            </a:pPr>
            <a:r>
              <a:rPr lang="en-US" sz="1200" dirty="0">
                <a:solidFill>
                  <a:schemeClr val="tx1"/>
                </a:solidFill>
              </a:rPr>
              <a:t>Implementation of processes that can ensure and demonstrate the sustainability of the event.</a:t>
            </a:r>
          </a:p>
          <a:p>
            <a:pPr marL="228600" indent="-228600">
              <a:buFont typeface="+mj-lt"/>
              <a:buAutoNum type="arabicPeriod"/>
            </a:pPr>
            <a:r>
              <a:rPr lang="en-US" sz="1200" dirty="0">
                <a:solidFill>
                  <a:schemeClr val="tx1"/>
                </a:solidFill>
              </a:rPr>
              <a:t>Event organizers to be independently certified to demonstrate their commitment to sustainability to a growing base of customers who have sustainability concerns.</a:t>
            </a:r>
          </a:p>
        </p:txBody>
      </p:sp>
      <p:sp>
        <p:nvSpPr>
          <p:cNvPr id="2" name="TextBox 1">
            <a:extLst>
              <a:ext uri="{FF2B5EF4-FFF2-40B4-BE49-F238E27FC236}">
                <a16:creationId xmlns:a16="http://schemas.microsoft.com/office/drawing/2014/main" id="{AF6D40EB-1575-D5B9-2FBB-E378E32BC630}"/>
              </a:ext>
            </a:extLst>
          </p:cNvPr>
          <p:cNvSpPr txBox="1"/>
          <p:nvPr/>
        </p:nvSpPr>
        <p:spPr>
          <a:xfrm>
            <a:off x="4400827" y="1509136"/>
            <a:ext cx="6893625" cy="461665"/>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a:lnSpc>
                <a:spcPct val="100000"/>
              </a:lnSpc>
            </a:pPr>
            <a:r>
              <a:rPr lang="en-US" sz="1200" b="1" dirty="0">
                <a:solidFill>
                  <a:schemeClr val="tx1"/>
                </a:solidFill>
              </a:rPr>
              <a:t>ISO 20121 is a management system standard focusing on event sustainability management which enables the following:</a:t>
            </a: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grpSp>
        <p:nvGrpSpPr>
          <p:cNvPr id="4" name="Group 3">
            <a:extLst>
              <a:ext uri="{FF2B5EF4-FFF2-40B4-BE49-F238E27FC236}">
                <a16:creationId xmlns:a16="http://schemas.microsoft.com/office/drawing/2014/main" id="{F8CD288A-32E0-2A46-5B10-9916CC6AC13B}"/>
              </a:ext>
            </a:extLst>
          </p:cNvPr>
          <p:cNvGrpSpPr/>
          <p:nvPr/>
        </p:nvGrpSpPr>
        <p:grpSpPr>
          <a:xfrm>
            <a:off x="972167" y="1948456"/>
            <a:ext cx="2977351" cy="2961087"/>
            <a:chOff x="9266238" y="3730626"/>
            <a:chExt cx="290512" cy="288925"/>
          </a:xfrm>
          <a:solidFill>
            <a:schemeClr val="accent1">
              <a:lumMod val="60000"/>
              <a:lumOff val="40000"/>
            </a:schemeClr>
          </a:solidFill>
        </p:grpSpPr>
        <p:sp>
          <p:nvSpPr>
            <p:cNvPr id="6" name="Freeform 1027">
              <a:extLst>
                <a:ext uri="{FF2B5EF4-FFF2-40B4-BE49-F238E27FC236}">
                  <a16:creationId xmlns:a16="http://schemas.microsoft.com/office/drawing/2014/main" id="{6733E502-11CB-693A-5C88-89C38F894C69}"/>
                </a:ext>
              </a:extLst>
            </p:cNvPr>
            <p:cNvSpPr>
              <a:spLocks/>
            </p:cNvSpPr>
            <p:nvPr/>
          </p:nvSpPr>
          <p:spPr bwMode="auto">
            <a:xfrm>
              <a:off x="9301163" y="3730626"/>
              <a:ext cx="46037" cy="46038"/>
            </a:xfrm>
            <a:custGeom>
              <a:avLst/>
              <a:gdLst>
                <a:gd name="T0" fmla="*/ 269 w 538"/>
                <a:gd name="T1" fmla="*/ 0 h 536"/>
                <a:gd name="T2" fmla="*/ 309 w 538"/>
                <a:gd name="T3" fmla="*/ 3 h 536"/>
                <a:gd name="T4" fmla="*/ 348 w 538"/>
                <a:gd name="T5" fmla="*/ 11 h 536"/>
                <a:gd name="T6" fmla="*/ 383 w 538"/>
                <a:gd name="T7" fmla="*/ 25 h 536"/>
                <a:gd name="T8" fmla="*/ 416 w 538"/>
                <a:gd name="T9" fmla="*/ 43 h 536"/>
                <a:gd name="T10" fmla="*/ 446 w 538"/>
                <a:gd name="T11" fmla="*/ 65 h 536"/>
                <a:gd name="T12" fmla="*/ 472 w 538"/>
                <a:gd name="T13" fmla="*/ 92 h 536"/>
                <a:gd name="T14" fmla="*/ 495 w 538"/>
                <a:gd name="T15" fmla="*/ 121 h 536"/>
                <a:gd name="T16" fmla="*/ 514 w 538"/>
                <a:gd name="T17" fmla="*/ 155 h 536"/>
                <a:gd name="T18" fmla="*/ 527 w 538"/>
                <a:gd name="T19" fmla="*/ 191 h 536"/>
                <a:gd name="T20" fmla="*/ 536 w 538"/>
                <a:gd name="T21" fmla="*/ 228 h 536"/>
                <a:gd name="T22" fmla="*/ 538 w 538"/>
                <a:gd name="T23" fmla="*/ 268 h 536"/>
                <a:gd name="T24" fmla="*/ 536 w 538"/>
                <a:gd name="T25" fmla="*/ 307 h 536"/>
                <a:gd name="T26" fmla="*/ 527 w 538"/>
                <a:gd name="T27" fmla="*/ 345 h 536"/>
                <a:gd name="T28" fmla="*/ 514 w 538"/>
                <a:gd name="T29" fmla="*/ 380 h 536"/>
                <a:gd name="T30" fmla="*/ 495 w 538"/>
                <a:gd name="T31" fmla="*/ 414 h 536"/>
                <a:gd name="T32" fmla="*/ 472 w 538"/>
                <a:gd name="T33" fmla="*/ 444 h 536"/>
                <a:gd name="T34" fmla="*/ 446 w 538"/>
                <a:gd name="T35" fmla="*/ 470 h 536"/>
                <a:gd name="T36" fmla="*/ 416 w 538"/>
                <a:gd name="T37" fmla="*/ 493 h 536"/>
                <a:gd name="T38" fmla="*/ 383 w 538"/>
                <a:gd name="T39" fmla="*/ 511 h 536"/>
                <a:gd name="T40" fmla="*/ 348 w 538"/>
                <a:gd name="T41" fmla="*/ 525 h 536"/>
                <a:gd name="T42" fmla="*/ 309 w 538"/>
                <a:gd name="T43" fmla="*/ 533 h 536"/>
                <a:gd name="T44" fmla="*/ 269 w 538"/>
                <a:gd name="T45" fmla="*/ 536 h 536"/>
                <a:gd name="T46" fmla="*/ 230 w 538"/>
                <a:gd name="T47" fmla="*/ 533 h 536"/>
                <a:gd name="T48" fmla="*/ 192 w 538"/>
                <a:gd name="T49" fmla="*/ 525 h 536"/>
                <a:gd name="T50" fmla="*/ 156 w 538"/>
                <a:gd name="T51" fmla="*/ 511 h 536"/>
                <a:gd name="T52" fmla="*/ 123 w 538"/>
                <a:gd name="T53" fmla="*/ 493 h 536"/>
                <a:gd name="T54" fmla="*/ 93 w 538"/>
                <a:gd name="T55" fmla="*/ 470 h 536"/>
                <a:gd name="T56" fmla="*/ 67 w 538"/>
                <a:gd name="T57" fmla="*/ 444 h 536"/>
                <a:gd name="T58" fmla="*/ 44 w 538"/>
                <a:gd name="T59" fmla="*/ 414 h 536"/>
                <a:gd name="T60" fmla="*/ 26 w 538"/>
                <a:gd name="T61" fmla="*/ 380 h 536"/>
                <a:gd name="T62" fmla="*/ 13 w 538"/>
                <a:gd name="T63" fmla="*/ 345 h 536"/>
                <a:gd name="T64" fmla="*/ 3 w 538"/>
                <a:gd name="T65" fmla="*/ 307 h 536"/>
                <a:gd name="T66" fmla="*/ 0 w 538"/>
                <a:gd name="T67" fmla="*/ 268 h 536"/>
                <a:gd name="T68" fmla="*/ 3 w 538"/>
                <a:gd name="T69" fmla="*/ 228 h 536"/>
                <a:gd name="T70" fmla="*/ 13 w 538"/>
                <a:gd name="T71" fmla="*/ 191 h 536"/>
                <a:gd name="T72" fmla="*/ 26 w 538"/>
                <a:gd name="T73" fmla="*/ 155 h 536"/>
                <a:gd name="T74" fmla="*/ 44 w 538"/>
                <a:gd name="T75" fmla="*/ 121 h 536"/>
                <a:gd name="T76" fmla="*/ 67 w 538"/>
                <a:gd name="T77" fmla="*/ 92 h 536"/>
                <a:gd name="T78" fmla="*/ 93 w 538"/>
                <a:gd name="T79" fmla="*/ 65 h 536"/>
                <a:gd name="T80" fmla="*/ 123 w 538"/>
                <a:gd name="T81" fmla="*/ 43 h 536"/>
                <a:gd name="T82" fmla="*/ 156 w 538"/>
                <a:gd name="T83" fmla="*/ 25 h 536"/>
                <a:gd name="T84" fmla="*/ 192 w 538"/>
                <a:gd name="T85" fmla="*/ 11 h 536"/>
                <a:gd name="T86" fmla="*/ 230 w 538"/>
                <a:gd name="T87" fmla="*/ 3 h 536"/>
                <a:gd name="T88" fmla="*/ 269 w 538"/>
                <a:gd name="T89" fmla="*/ 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8" h="536">
                  <a:moveTo>
                    <a:pt x="269" y="0"/>
                  </a:moveTo>
                  <a:lnTo>
                    <a:pt x="309" y="3"/>
                  </a:lnTo>
                  <a:lnTo>
                    <a:pt x="348" y="11"/>
                  </a:lnTo>
                  <a:lnTo>
                    <a:pt x="383" y="25"/>
                  </a:lnTo>
                  <a:lnTo>
                    <a:pt x="416" y="43"/>
                  </a:lnTo>
                  <a:lnTo>
                    <a:pt x="446" y="65"/>
                  </a:lnTo>
                  <a:lnTo>
                    <a:pt x="472" y="92"/>
                  </a:lnTo>
                  <a:lnTo>
                    <a:pt x="495" y="121"/>
                  </a:lnTo>
                  <a:lnTo>
                    <a:pt x="514" y="155"/>
                  </a:lnTo>
                  <a:lnTo>
                    <a:pt x="527" y="191"/>
                  </a:lnTo>
                  <a:lnTo>
                    <a:pt x="536" y="228"/>
                  </a:lnTo>
                  <a:lnTo>
                    <a:pt x="538" y="268"/>
                  </a:lnTo>
                  <a:lnTo>
                    <a:pt x="536" y="307"/>
                  </a:lnTo>
                  <a:lnTo>
                    <a:pt x="527" y="345"/>
                  </a:lnTo>
                  <a:lnTo>
                    <a:pt x="514" y="380"/>
                  </a:lnTo>
                  <a:lnTo>
                    <a:pt x="495" y="414"/>
                  </a:lnTo>
                  <a:lnTo>
                    <a:pt x="472" y="444"/>
                  </a:lnTo>
                  <a:lnTo>
                    <a:pt x="446" y="470"/>
                  </a:lnTo>
                  <a:lnTo>
                    <a:pt x="416" y="493"/>
                  </a:lnTo>
                  <a:lnTo>
                    <a:pt x="383" y="511"/>
                  </a:lnTo>
                  <a:lnTo>
                    <a:pt x="348" y="525"/>
                  </a:lnTo>
                  <a:lnTo>
                    <a:pt x="309" y="533"/>
                  </a:lnTo>
                  <a:lnTo>
                    <a:pt x="269" y="536"/>
                  </a:lnTo>
                  <a:lnTo>
                    <a:pt x="230" y="533"/>
                  </a:lnTo>
                  <a:lnTo>
                    <a:pt x="192" y="525"/>
                  </a:lnTo>
                  <a:lnTo>
                    <a:pt x="156" y="511"/>
                  </a:lnTo>
                  <a:lnTo>
                    <a:pt x="123" y="493"/>
                  </a:lnTo>
                  <a:lnTo>
                    <a:pt x="93" y="470"/>
                  </a:lnTo>
                  <a:lnTo>
                    <a:pt x="67" y="444"/>
                  </a:lnTo>
                  <a:lnTo>
                    <a:pt x="44" y="414"/>
                  </a:lnTo>
                  <a:lnTo>
                    <a:pt x="26" y="380"/>
                  </a:lnTo>
                  <a:lnTo>
                    <a:pt x="13" y="345"/>
                  </a:lnTo>
                  <a:lnTo>
                    <a:pt x="3" y="307"/>
                  </a:lnTo>
                  <a:lnTo>
                    <a:pt x="0" y="268"/>
                  </a:lnTo>
                  <a:lnTo>
                    <a:pt x="3" y="228"/>
                  </a:lnTo>
                  <a:lnTo>
                    <a:pt x="13" y="191"/>
                  </a:lnTo>
                  <a:lnTo>
                    <a:pt x="26" y="155"/>
                  </a:lnTo>
                  <a:lnTo>
                    <a:pt x="44" y="121"/>
                  </a:lnTo>
                  <a:lnTo>
                    <a:pt x="67" y="92"/>
                  </a:lnTo>
                  <a:lnTo>
                    <a:pt x="93" y="65"/>
                  </a:lnTo>
                  <a:lnTo>
                    <a:pt x="123" y="43"/>
                  </a:lnTo>
                  <a:lnTo>
                    <a:pt x="156" y="25"/>
                  </a:lnTo>
                  <a:lnTo>
                    <a:pt x="192" y="11"/>
                  </a:lnTo>
                  <a:lnTo>
                    <a:pt x="230" y="3"/>
                  </a:lnTo>
                  <a:lnTo>
                    <a:pt x="2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028">
              <a:extLst>
                <a:ext uri="{FF2B5EF4-FFF2-40B4-BE49-F238E27FC236}">
                  <a16:creationId xmlns:a16="http://schemas.microsoft.com/office/drawing/2014/main" id="{03FBC356-B4C3-ECCE-F7DD-064A9B6D645C}"/>
                </a:ext>
              </a:extLst>
            </p:cNvPr>
            <p:cNvSpPr>
              <a:spLocks/>
            </p:cNvSpPr>
            <p:nvPr/>
          </p:nvSpPr>
          <p:spPr bwMode="auto">
            <a:xfrm>
              <a:off x="9266238" y="3784601"/>
              <a:ext cx="115887" cy="58738"/>
            </a:xfrm>
            <a:custGeom>
              <a:avLst/>
              <a:gdLst>
                <a:gd name="T0" fmla="*/ 439 w 1315"/>
                <a:gd name="T1" fmla="*/ 0 h 665"/>
                <a:gd name="T2" fmla="*/ 567 w 1315"/>
                <a:gd name="T3" fmla="*/ 247 h 665"/>
                <a:gd name="T4" fmla="*/ 568 w 1315"/>
                <a:gd name="T5" fmla="*/ 222 h 665"/>
                <a:gd name="T6" fmla="*/ 625 w 1315"/>
                <a:gd name="T7" fmla="*/ 115 h 665"/>
                <a:gd name="T8" fmla="*/ 575 w 1315"/>
                <a:gd name="T9" fmla="*/ 19 h 665"/>
                <a:gd name="T10" fmla="*/ 584 w 1315"/>
                <a:gd name="T11" fmla="*/ 2 h 665"/>
                <a:gd name="T12" fmla="*/ 722 w 1315"/>
                <a:gd name="T13" fmla="*/ 0 h 665"/>
                <a:gd name="T14" fmla="*/ 739 w 1315"/>
                <a:gd name="T15" fmla="*/ 9 h 665"/>
                <a:gd name="T16" fmla="*/ 739 w 1315"/>
                <a:gd name="T17" fmla="*/ 28 h 665"/>
                <a:gd name="T18" fmla="*/ 746 w 1315"/>
                <a:gd name="T19" fmla="*/ 211 h 665"/>
                <a:gd name="T20" fmla="*/ 753 w 1315"/>
                <a:gd name="T21" fmla="*/ 235 h 665"/>
                <a:gd name="T22" fmla="*/ 713 w 1315"/>
                <a:gd name="T23" fmla="*/ 431 h 665"/>
                <a:gd name="T24" fmla="*/ 1006 w 1315"/>
                <a:gd name="T25" fmla="*/ 0 h 665"/>
                <a:gd name="T26" fmla="*/ 1088 w 1315"/>
                <a:gd name="T27" fmla="*/ 11 h 665"/>
                <a:gd name="T28" fmla="*/ 1160 w 1315"/>
                <a:gd name="T29" fmla="*/ 41 h 665"/>
                <a:gd name="T30" fmla="*/ 1223 w 1315"/>
                <a:gd name="T31" fmla="*/ 90 h 665"/>
                <a:gd name="T32" fmla="*/ 1270 w 1315"/>
                <a:gd name="T33" fmla="*/ 151 h 665"/>
                <a:gd name="T34" fmla="*/ 1301 w 1315"/>
                <a:gd name="T35" fmla="*/ 224 h 665"/>
                <a:gd name="T36" fmla="*/ 1313 w 1315"/>
                <a:gd name="T37" fmla="*/ 304 h 665"/>
                <a:gd name="T38" fmla="*/ 1290 w 1315"/>
                <a:gd name="T39" fmla="*/ 648 h 665"/>
                <a:gd name="T40" fmla="*/ 1231 w 1315"/>
                <a:gd name="T41" fmla="*/ 626 h 665"/>
                <a:gd name="T42" fmla="*/ 1056 w 1315"/>
                <a:gd name="T43" fmla="*/ 623 h 665"/>
                <a:gd name="T44" fmla="*/ 1054 w 1315"/>
                <a:gd name="T45" fmla="*/ 304 h 665"/>
                <a:gd name="T46" fmla="*/ 1046 w 1315"/>
                <a:gd name="T47" fmla="*/ 285 h 665"/>
                <a:gd name="T48" fmla="*/ 1027 w 1315"/>
                <a:gd name="T49" fmla="*/ 277 h 665"/>
                <a:gd name="T50" fmla="*/ 1007 w 1315"/>
                <a:gd name="T51" fmla="*/ 285 h 665"/>
                <a:gd name="T52" fmla="*/ 999 w 1315"/>
                <a:gd name="T53" fmla="*/ 304 h 665"/>
                <a:gd name="T54" fmla="*/ 313 w 1315"/>
                <a:gd name="T55" fmla="*/ 623 h 665"/>
                <a:gd name="T56" fmla="*/ 311 w 1315"/>
                <a:gd name="T57" fmla="*/ 296 h 665"/>
                <a:gd name="T58" fmla="*/ 297 w 1315"/>
                <a:gd name="T59" fmla="*/ 282 h 665"/>
                <a:gd name="T60" fmla="*/ 277 w 1315"/>
                <a:gd name="T61" fmla="*/ 282 h 665"/>
                <a:gd name="T62" fmla="*/ 264 w 1315"/>
                <a:gd name="T63" fmla="*/ 296 h 665"/>
                <a:gd name="T64" fmla="*/ 260 w 1315"/>
                <a:gd name="T65" fmla="*/ 623 h 665"/>
                <a:gd name="T66" fmla="*/ 75 w 1315"/>
                <a:gd name="T67" fmla="*/ 625 h 665"/>
                <a:gd name="T68" fmla="*/ 23 w 1315"/>
                <a:gd name="T69" fmla="*/ 642 h 665"/>
                <a:gd name="T70" fmla="*/ 2 w 1315"/>
                <a:gd name="T71" fmla="*/ 304 h 665"/>
                <a:gd name="T72" fmla="*/ 13 w 1315"/>
                <a:gd name="T73" fmla="*/ 224 h 665"/>
                <a:gd name="T74" fmla="*/ 44 w 1315"/>
                <a:gd name="T75" fmla="*/ 151 h 665"/>
                <a:gd name="T76" fmla="*/ 93 w 1315"/>
                <a:gd name="T77" fmla="*/ 90 h 665"/>
                <a:gd name="T78" fmla="*/ 155 w 1315"/>
                <a:gd name="T79" fmla="*/ 41 h 665"/>
                <a:gd name="T80" fmla="*/ 227 w 1315"/>
                <a:gd name="T81" fmla="*/ 11 h 665"/>
                <a:gd name="T82" fmla="*/ 309 w 1315"/>
                <a:gd name="T83"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5" h="665">
                  <a:moveTo>
                    <a:pt x="309" y="0"/>
                  </a:moveTo>
                  <a:lnTo>
                    <a:pt x="439" y="0"/>
                  </a:lnTo>
                  <a:lnTo>
                    <a:pt x="600" y="431"/>
                  </a:lnTo>
                  <a:lnTo>
                    <a:pt x="567" y="247"/>
                  </a:lnTo>
                  <a:lnTo>
                    <a:pt x="566" y="235"/>
                  </a:lnTo>
                  <a:lnTo>
                    <a:pt x="568" y="222"/>
                  </a:lnTo>
                  <a:lnTo>
                    <a:pt x="572" y="211"/>
                  </a:lnTo>
                  <a:lnTo>
                    <a:pt x="625" y="115"/>
                  </a:lnTo>
                  <a:lnTo>
                    <a:pt x="577" y="28"/>
                  </a:lnTo>
                  <a:lnTo>
                    <a:pt x="575" y="19"/>
                  </a:lnTo>
                  <a:lnTo>
                    <a:pt x="577" y="9"/>
                  </a:lnTo>
                  <a:lnTo>
                    <a:pt x="584" y="2"/>
                  </a:lnTo>
                  <a:lnTo>
                    <a:pt x="594" y="0"/>
                  </a:lnTo>
                  <a:lnTo>
                    <a:pt x="722" y="0"/>
                  </a:lnTo>
                  <a:lnTo>
                    <a:pt x="732" y="2"/>
                  </a:lnTo>
                  <a:lnTo>
                    <a:pt x="739" y="9"/>
                  </a:lnTo>
                  <a:lnTo>
                    <a:pt x="741" y="19"/>
                  </a:lnTo>
                  <a:lnTo>
                    <a:pt x="739" y="28"/>
                  </a:lnTo>
                  <a:lnTo>
                    <a:pt x="693" y="115"/>
                  </a:lnTo>
                  <a:lnTo>
                    <a:pt x="746" y="211"/>
                  </a:lnTo>
                  <a:lnTo>
                    <a:pt x="751" y="222"/>
                  </a:lnTo>
                  <a:lnTo>
                    <a:pt x="753" y="235"/>
                  </a:lnTo>
                  <a:lnTo>
                    <a:pt x="752" y="248"/>
                  </a:lnTo>
                  <a:lnTo>
                    <a:pt x="713" y="431"/>
                  </a:lnTo>
                  <a:lnTo>
                    <a:pt x="879" y="0"/>
                  </a:lnTo>
                  <a:lnTo>
                    <a:pt x="1006" y="0"/>
                  </a:lnTo>
                  <a:lnTo>
                    <a:pt x="1048" y="3"/>
                  </a:lnTo>
                  <a:lnTo>
                    <a:pt x="1088" y="11"/>
                  </a:lnTo>
                  <a:lnTo>
                    <a:pt x="1125" y="24"/>
                  </a:lnTo>
                  <a:lnTo>
                    <a:pt x="1160" y="41"/>
                  </a:lnTo>
                  <a:lnTo>
                    <a:pt x="1193" y="64"/>
                  </a:lnTo>
                  <a:lnTo>
                    <a:pt x="1223" y="90"/>
                  </a:lnTo>
                  <a:lnTo>
                    <a:pt x="1249" y="119"/>
                  </a:lnTo>
                  <a:lnTo>
                    <a:pt x="1270" y="151"/>
                  </a:lnTo>
                  <a:lnTo>
                    <a:pt x="1288" y="186"/>
                  </a:lnTo>
                  <a:lnTo>
                    <a:pt x="1301" y="224"/>
                  </a:lnTo>
                  <a:lnTo>
                    <a:pt x="1310" y="263"/>
                  </a:lnTo>
                  <a:lnTo>
                    <a:pt x="1313" y="304"/>
                  </a:lnTo>
                  <a:lnTo>
                    <a:pt x="1315" y="665"/>
                  </a:lnTo>
                  <a:lnTo>
                    <a:pt x="1290" y="648"/>
                  </a:lnTo>
                  <a:lnTo>
                    <a:pt x="1262" y="634"/>
                  </a:lnTo>
                  <a:lnTo>
                    <a:pt x="1231" y="626"/>
                  </a:lnTo>
                  <a:lnTo>
                    <a:pt x="1199" y="623"/>
                  </a:lnTo>
                  <a:lnTo>
                    <a:pt x="1056" y="623"/>
                  </a:lnTo>
                  <a:lnTo>
                    <a:pt x="1054" y="306"/>
                  </a:lnTo>
                  <a:lnTo>
                    <a:pt x="1054" y="304"/>
                  </a:lnTo>
                  <a:lnTo>
                    <a:pt x="1052" y="294"/>
                  </a:lnTo>
                  <a:lnTo>
                    <a:pt x="1046" y="285"/>
                  </a:lnTo>
                  <a:lnTo>
                    <a:pt x="1038" y="279"/>
                  </a:lnTo>
                  <a:lnTo>
                    <a:pt x="1027" y="277"/>
                  </a:lnTo>
                  <a:lnTo>
                    <a:pt x="1016" y="279"/>
                  </a:lnTo>
                  <a:lnTo>
                    <a:pt x="1007" y="285"/>
                  </a:lnTo>
                  <a:lnTo>
                    <a:pt x="1001" y="294"/>
                  </a:lnTo>
                  <a:lnTo>
                    <a:pt x="999" y="304"/>
                  </a:lnTo>
                  <a:lnTo>
                    <a:pt x="999" y="623"/>
                  </a:lnTo>
                  <a:lnTo>
                    <a:pt x="313" y="623"/>
                  </a:lnTo>
                  <a:lnTo>
                    <a:pt x="313" y="306"/>
                  </a:lnTo>
                  <a:lnTo>
                    <a:pt x="311" y="296"/>
                  </a:lnTo>
                  <a:lnTo>
                    <a:pt x="305" y="288"/>
                  </a:lnTo>
                  <a:lnTo>
                    <a:pt x="297" y="282"/>
                  </a:lnTo>
                  <a:lnTo>
                    <a:pt x="287" y="280"/>
                  </a:lnTo>
                  <a:lnTo>
                    <a:pt x="277" y="282"/>
                  </a:lnTo>
                  <a:lnTo>
                    <a:pt x="269" y="288"/>
                  </a:lnTo>
                  <a:lnTo>
                    <a:pt x="264" y="296"/>
                  </a:lnTo>
                  <a:lnTo>
                    <a:pt x="262" y="306"/>
                  </a:lnTo>
                  <a:lnTo>
                    <a:pt x="260" y="623"/>
                  </a:lnTo>
                  <a:lnTo>
                    <a:pt x="105" y="623"/>
                  </a:lnTo>
                  <a:lnTo>
                    <a:pt x="75" y="625"/>
                  </a:lnTo>
                  <a:lnTo>
                    <a:pt x="49" y="632"/>
                  </a:lnTo>
                  <a:lnTo>
                    <a:pt x="23" y="642"/>
                  </a:lnTo>
                  <a:lnTo>
                    <a:pt x="0" y="656"/>
                  </a:lnTo>
                  <a:lnTo>
                    <a:pt x="2" y="304"/>
                  </a:lnTo>
                  <a:lnTo>
                    <a:pt x="5" y="263"/>
                  </a:lnTo>
                  <a:lnTo>
                    <a:pt x="13" y="224"/>
                  </a:lnTo>
                  <a:lnTo>
                    <a:pt x="27" y="186"/>
                  </a:lnTo>
                  <a:lnTo>
                    <a:pt x="44" y="151"/>
                  </a:lnTo>
                  <a:lnTo>
                    <a:pt x="66" y="119"/>
                  </a:lnTo>
                  <a:lnTo>
                    <a:pt x="93" y="90"/>
                  </a:lnTo>
                  <a:lnTo>
                    <a:pt x="122" y="64"/>
                  </a:lnTo>
                  <a:lnTo>
                    <a:pt x="155" y="41"/>
                  </a:lnTo>
                  <a:lnTo>
                    <a:pt x="190" y="24"/>
                  </a:lnTo>
                  <a:lnTo>
                    <a:pt x="227" y="11"/>
                  </a:lnTo>
                  <a:lnTo>
                    <a:pt x="268" y="3"/>
                  </a:lnTo>
                  <a:lnTo>
                    <a:pt x="3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029">
              <a:extLst>
                <a:ext uri="{FF2B5EF4-FFF2-40B4-BE49-F238E27FC236}">
                  <a16:creationId xmlns:a16="http://schemas.microsoft.com/office/drawing/2014/main" id="{43840B9A-5E09-7D6E-0D78-1F60C3AC4E3F}"/>
                </a:ext>
              </a:extLst>
            </p:cNvPr>
            <p:cNvSpPr>
              <a:spLocks/>
            </p:cNvSpPr>
            <p:nvPr/>
          </p:nvSpPr>
          <p:spPr bwMode="auto">
            <a:xfrm>
              <a:off x="9272588" y="3852863"/>
              <a:ext cx="103187" cy="57150"/>
            </a:xfrm>
            <a:custGeom>
              <a:avLst/>
              <a:gdLst>
                <a:gd name="T0" fmla="*/ 38 w 1169"/>
                <a:gd name="T1" fmla="*/ 0 h 653"/>
                <a:gd name="T2" fmla="*/ 1132 w 1169"/>
                <a:gd name="T3" fmla="*/ 0 h 653"/>
                <a:gd name="T4" fmla="*/ 1146 w 1169"/>
                <a:gd name="T5" fmla="*/ 3 h 653"/>
                <a:gd name="T6" fmla="*/ 1158 w 1169"/>
                <a:gd name="T7" fmla="*/ 10 h 653"/>
                <a:gd name="T8" fmla="*/ 1166 w 1169"/>
                <a:gd name="T9" fmla="*/ 22 h 653"/>
                <a:gd name="T10" fmla="*/ 1169 w 1169"/>
                <a:gd name="T11" fmla="*/ 36 h 653"/>
                <a:gd name="T12" fmla="*/ 1169 w 1169"/>
                <a:gd name="T13" fmla="*/ 524 h 653"/>
                <a:gd name="T14" fmla="*/ 1126 w 1169"/>
                <a:gd name="T15" fmla="*/ 534 h 653"/>
                <a:gd name="T16" fmla="*/ 1083 w 1169"/>
                <a:gd name="T17" fmla="*/ 548 h 653"/>
                <a:gd name="T18" fmla="*/ 1044 w 1169"/>
                <a:gd name="T19" fmla="*/ 567 h 653"/>
                <a:gd name="T20" fmla="*/ 1007 w 1169"/>
                <a:gd name="T21" fmla="*/ 589 h 653"/>
                <a:gd name="T22" fmla="*/ 1007 w 1169"/>
                <a:gd name="T23" fmla="*/ 394 h 653"/>
                <a:gd name="T24" fmla="*/ 1004 w 1169"/>
                <a:gd name="T25" fmla="*/ 360 h 653"/>
                <a:gd name="T26" fmla="*/ 995 w 1169"/>
                <a:gd name="T27" fmla="*/ 327 h 653"/>
                <a:gd name="T28" fmla="*/ 981 w 1169"/>
                <a:gd name="T29" fmla="*/ 298 h 653"/>
                <a:gd name="T30" fmla="*/ 962 w 1169"/>
                <a:gd name="T31" fmla="*/ 271 h 653"/>
                <a:gd name="T32" fmla="*/ 938 w 1169"/>
                <a:gd name="T33" fmla="*/ 248 h 653"/>
                <a:gd name="T34" fmla="*/ 912 w 1169"/>
                <a:gd name="T35" fmla="*/ 229 h 653"/>
                <a:gd name="T36" fmla="*/ 882 w 1169"/>
                <a:gd name="T37" fmla="*/ 215 h 653"/>
                <a:gd name="T38" fmla="*/ 849 w 1169"/>
                <a:gd name="T39" fmla="*/ 206 h 653"/>
                <a:gd name="T40" fmla="*/ 815 w 1169"/>
                <a:gd name="T41" fmla="*/ 203 h 653"/>
                <a:gd name="T42" fmla="*/ 369 w 1169"/>
                <a:gd name="T43" fmla="*/ 203 h 653"/>
                <a:gd name="T44" fmla="*/ 335 w 1169"/>
                <a:gd name="T45" fmla="*/ 206 h 653"/>
                <a:gd name="T46" fmla="*/ 302 w 1169"/>
                <a:gd name="T47" fmla="*/ 215 h 653"/>
                <a:gd name="T48" fmla="*/ 272 w 1169"/>
                <a:gd name="T49" fmla="*/ 229 h 653"/>
                <a:gd name="T50" fmla="*/ 245 w 1169"/>
                <a:gd name="T51" fmla="*/ 248 h 653"/>
                <a:gd name="T52" fmla="*/ 222 w 1169"/>
                <a:gd name="T53" fmla="*/ 271 h 653"/>
                <a:gd name="T54" fmla="*/ 203 w 1169"/>
                <a:gd name="T55" fmla="*/ 298 h 653"/>
                <a:gd name="T56" fmla="*/ 189 w 1169"/>
                <a:gd name="T57" fmla="*/ 327 h 653"/>
                <a:gd name="T58" fmla="*/ 180 w 1169"/>
                <a:gd name="T59" fmla="*/ 360 h 653"/>
                <a:gd name="T60" fmla="*/ 177 w 1169"/>
                <a:gd name="T61" fmla="*/ 394 h 653"/>
                <a:gd name="T62" fmla="*/ 177 w 1169"/>
                <a:gd name="T63" fmla="*/ 653 h 653"/>
                <a:gd name="T64" fmla="*/ 38 w 1169"/>
                <a:gd name="T65" fmla="*/ 653 h 653"/>
                <a:gd name="T66" fmla="*/ 24 w 1169"/>
                <a:gd name="T67" fmla="*/ 650 h 653"/>
                <a:gd name="T68" fmla="*/ 11 w 1169"/>
                <a:gd name="T69" fmla="*/ 643 h 653"/>
                <a:gd name="T70" fmla="*/ 3 w 1169"/>
                <a:gd name="T71" fmla="*/ 631 h 653"/>
                <a:gd name="T72" fmla="*/ 0 w 1169"/>
                <a:gd name="T73" fmla="*/ 617 h 653"/>
                <a:gd name="T74" fmla="*/ 0 w 1169"/>
                <a:gd name="T75" fmla="*/ 36 h 653"/>
                <a:gd name="T76" fmla="*/ 3 w 1169"/>
                <a:gd name="T77" fmla="*/ 22 h 653"/>
                <a:gd name="T78" fmla="*/ 11 w 1169"/>
                <a:gd name="T79" fmla="*/ 10 h 653"/>
                <a:gd name="T80" fmla="*/ 24 w 1169"/>
                <a:gd name="T81" fmla="*/ 3 h 653"/>
                <a:gd name="T82" fmla="*/ 38 w 1169"/>
                <a:gd name="T83"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69" h="653">
                  <a:moveTo>
                    <a:pt x="38" y="0"/>
                  </a:moveTo>
                  <a:lnTo>
                    <a:pt x="1132" y="0"/>
                  </a:lnTo>
                  <a:lnTo>
                    <a:pt x="1146" y="3"/>
                  </a:lnTo>
                  <a:lnTo>
                    <a:pt x="1158" y="10"/>
                  </a:lnTo>
                  <a:lnTo>
                    <a:pt x="1166" y="22"/>
                  </a:lnTo>
                  <a:lnTo>
                    <a:pt x="1169" y="36"/>
                  </a:lnTo>
                  <a:lnTo>
                    <a:pt x="1169" y="524"/>
                  </a:lnTo>
                  <a:lnTo>
                    <a:pt x="1126" y="534"/>
                  </a:lnTo>
                  <a:lnTo>
                    <a:pt x="1083" y="548"/>
                  </a:lnTo>
                  <a:lnTo>
                    <a:pt x="1044" y="567"/>
                  </a:lnTo>
                  <a:lnTo>
                    <a:pt x="1007" y="589"/>
                  </a:lnTo>
                  <a:lnTo>
                    <a:pt x="1007" y="394"/>
                  </a:lnTo>
                  <a:lnTo>
                    <a:pt x="1004" y="360"/>
                  </a:lnTo>
                  <a:lnTo>
                    <a:pt x="995" y="327"/>
                  </a:lnTo>
                  <a:lnTo>
                    <a:pt x="981" y="298"/>
                  </a:lnTo>
                  <a:lnTo>
                    <a:pt x="962" y="271"/>
                  </a:lnTo>
                  <a:lnTo>
                    <a:pt x="938" y="248"/>
                  </a:lnTo>
                  <a:lnTo>
                    <a:pt x="912" y="229"/>
                  </a:lnTo>
                  <a:lnTo>
                    <a:pt x="882" y="215"/>
                  </a:lnTo>
                  <a:lnTo>
                    <a:pt x="849" y="206"/>
                  </a:lnTo>
                  <a:lnTo>
                    <a:pt x="815" y="203"/>
                  </a:lnTo>
                  <a:lnTo>
                    <a:pt x="369" y="203"/>
                  </a:lnTo>
                  <a:lnTo>
                    <a:pt x="335" y="206"/>
                  </a:lnTo>
                  <a:lnTo>
                    <a:pt x="302" y="215"/>
                  </a:lnTo>
                  <a:lnTo>
                    <a:pt x="272" y="229"/>
                  </a:lnTo>
                  <a:lnTo>
                    <a:pt x="245" y="248"/>
                  </a:lnTo>
                  <a:lnTo>
                    <a:pt x="222" y="271"/>
                  </a:lnTo>
                  <a:lnTo>
                    <a:pt x="203" y="298"/>
                  </a:lnTo>
                  <a:lnTo>
                    <a:pt x="189" y="327"/>
                  </a:lnTo>
                  <a:lnTo>
                    <a:pt x="180" y="360"/>
                  </a:lnTo>
                  <a:lnTo>
                    <a:pt x="177" y="394"/>
                  </a:lnTo>
                  <a:lnTo>
                    <a:pt x="177" y="653"/>
                  </a:lnTo>
                  <a:lnTo>
                    <a:pt x="38" y="653"/>
                  </a:lnTo>
                  <a:lnTo>
                    <a:pt x="24" y="650"/>
                  </a:lnTo>
                  <a:lnTo>
                    <a:pt x="11" y="643"/>
                  </a:lnTo>
                  <a:lnTo>
                    <a:pt x="3" y="631"/>
                  </a:lnTo>
                  <a:lnTo>
                    <a:pt x="0" y="617"/>
                  </a:lnTo>
                  <a:lnTo>
                    <a:pt x="0" y="36"/>
                  </a:lnTo>
                  <a:lnTo>
                    <a:pt x="3" y="22"/>
                  </a:lnTo>
                  <a:lnTo>
                    <a:pt x="11" y="10"/>
                  </a:lnTo>
                  <a:lnTo>
                    <a:pt x="24" y="3"/>
                  </a:lnTo>
                  <a:lnTo>
                    <a:pt x="3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1030">
              <a:extLst>
                <a:ext uri="{FF2B5EF4-FFF2-40B4-BE49-F238E27FC236}">
                  <a16:creationId xmlns:a16="http://schemas.microsoft.com/office/drawing/2014/main" id="{6AA8B5E4-3028-7BC9-6C36-90F9D9A54806}"/>
                </a:ext>
              </a:extLst>
            </p:cNvPr>
            <p:cNvSpPr>
              <a:spLocks/>
            </p:cNvSpPr>
            <p:nvPr/>
          </p:nvSpPr>
          <p:spPr bwMode="auto">
            <a:xfrm>
              <a:off x="9474200" y="3910013"/>
              <a:ext cx="47625" cy="49213"/>
            </a:xfrm>
            <a:custGeom>
              <a:avLst/>
              <a:gdLst>
                <a:gd name="T0" fmla="*/ 272 w 543"/>
                <a:gd name="T1" fmla="*/ 0 h 542"/>
                <a:gd name="T2" fmla="*/ 312 w 543"/>
                <a:gd name="T3" fmla="*/ 3 h 542"/>
                <a:gd name="T4" fmla="*/ 350 w 543"/>
                <a:gd name="T5" fmla="*/ 12 h 542"/>
                <a:gd name="T6" fmla="*/ 386 w 543"/>
                <a:gd name="T7" fmla="*/ 26 h 542"/>
                <a:gd name="T8" fmla="*/ 420 w 543"/>
                <a:gd name="T9" fmla="*/ 44 h 542"/>
                <a:gd name="T10" fmla="*/ 450 w 543"/>
                <a:gd name="T11" fmla="*/ 67 h 542"/>
                <a:gd name="T12" fmla="*/ 477 w 543"/>
                <a:gd name="T13" fmla="*/ 94 h 542"/>
                <a:gd name="T14" fmla="*/ 500 w 543"/>
                <a:gd name="T15" fmla="*/ 124 h 542"/>
                <a:gd name="T16" fmla="*/ 518 w 543"/>
                <a:gd name="T17" fmla="*/ 157 h 542"/>
                <a:gd name="T18" fmla="*/ 532 w 543"/>
                <a:gd name="T19" fmla="*/ 193 h 542"/>
                <a:gd name="T20" fmla="*/ 540 w 543"/>
                <a:gd name="T21" fmla="*/ 231 h 542"/>
                <a:gd name="T22" fmla="*/ 543 w 543"/>
                <a:gd name="T23" fmla="*/ 271 h 542"/>
                <a:gd name="T24" fmla="*/ 540 w 543"/>
                <a:gd name="T25" fmla="*/ 312 h 542"/>
                <a:gd name="T26" fmla="*/ 532 w 543"/>
                <a:gd name="T27" fmla="*/ 350 h 542"/>
                <a:gd name="T28" fmla="*/ 518 w 543"/>
                <a:gd name="T29" fmla="*/ 386 h 542"/>
                <a:gd name="T30" fmla="*/ 500 w 543"/>
                <a:gd name="T31" fmla="*/ 419 h 542"/>
                <a:gd name="T32" fmla="*/ 477 w 543"/>
                <a:gd name="T33" fmla="*/ 449 h 542"/>
                <a:gd name="T34" fmla="*/ 450 w 543"/>
                <a:gd name="T35" fmla="*/ 476 h 542"/>
                <a:gd name="T36" fmla="*/ 420 w 543"/>
                <a:gd name="T37" fmla="*/ 499 h 542"/>
                <a:gd name="T38" fmla="*/ 386 w 543"/>
                <a:gd name="T39" fmla="*/ 517 h 542"/>
                <a:gd name="T40" fmla="*/ 350 w 543"/>
                <a:gd name="T41" fmla="*/ 531 h 542"/>
                <a:gd name="T42" fmla="*/ 312 w 543"/>
                <a:gd name="T43" fmla="*/ 539 h 542"/>
                <a:gd name="T44" fmla="*/ 272 w 543"/>
                <a:gd name="T45" fmla="*/ 542 h 542"/>
                <a:gd name="T46" fmla="*/ 232 w 543"/>
                <a:gd name="T47" fmla="*/ 539 h 542"/>
                <a:gd name="T48" fmla="*/ 193 w 543"/>
                <a:gd name="T49" fmla="*/ 531 h 542"/>
                <a:gd name="T50" fmla="*/ 157 w 543"/>
                <a:gd name="T51" fmla="*/ 517 h 542"/>
                <a:gd name="T52" fmla="*/ 124 w 543"/>
                <a:gd name="T53" fmla="*/ 499 h 542"/>
                <a:gd name="T54" fmla="*/ 94 w 543"/>
                <a:gd name="T55" fmla="*/ 476 h 542"/>
                <a:gd name="T56" fmla="*/ 66 w 543"/>
                <a:gd name="T57" fmla="*/ 449 h 542"/>
                <a:gd name="T58" fmla="*/ 43 w 543"/>
                <a:gd name="T59" fmla="*/ 419 h 542"/>
                <a:gd name="T60" fmla="*/ 25 w 543"/>
                <a:gd name="T61" fmla="*/ 386 h 542"/>
                <a:gd name="T62" fmla="*/ 11 w 543"/>
                <a:gd name="T63" fmla="*/ 350 h 542"/>
                <a:gd name="T64" fmla="*/ 3 w 543"/>
                <a:gd name="T65" fmla="*/ 312 h 542"/>
                <a:gd name="T66" fmla="*/ 0 w 543"/>
                <a:gd name="T67" fmla="*/ 271 h 542"/>
                <a:gd name="T68" fmla="*/ 3 w 543"/>
                <a:gd name="T69" fmla="*/ 231 h 542"/>
                <a:gd name="T70" fmla="*/ 11 w 543"/>
                <a:gd name="T71" fmla="*/ 193 h 542"/>
                <a:gd name="T72" fmla="*/ 25 w 543"/>
                <a:gd name="T73" fmla="*/ 157 h 542"/>
                <a:gd name="T74" fmla="*/ 43 w 543"/>
                <a:gd name="T75" fmla="*/ 124 h 542"/>
                <a:gd name="T76" fmla="*/ 66 w 543"/>
                <a:gd name="T77" fmla="*/ 94 h 542"/>
                <a:gd name="T78" fmla="*/ 94 w 543"/>
                <a:gd name="T79" fmla="*/ 67 h 542"/>
                <a:gd name="T80" fmla="*/ 124 w 543"/>
                <a:gd name="T81" fmla="*/ 44 h 542"/>
                <a:gd name="T82" fmla="*/ 157 w 543"/>
                <a:gd name="T83" fmla="*/ 26 h 542"/>
                <a:gd name="T84" fmla="*/ 193 w 543"/>
                <a:gd name="T85" fmla="*/ 12 h 542"/>
                <a:gd name="T86" fmla="*/ 232 w 543"/>
                <a:gd name="T87" fmla="*/ 3 h 542"/>
                <a:gd name="T88" fmla="*/ 272 w 543"/>
                <a:gd name="T89"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3" h="542">
                  <a:moveTo>
                    <a:pt x="272" y="0"/>
                  </a:moveTo>
                  <a:lnTo>
                    <a:pt x="312" y="3"/>
                  </a:lnTo>
                  <a:lnTo>
                    <a:pt x="350" y="12"/>
                  </a:lnTo>
                  <a:lnTo>
                    <a:pt x="386" y="26"/>
                  </a:lnTo>
                  <a:lnTo>
                    <a:pt x="420" y="44"/>
                  </a:lnTo>
                  <a:lnTo>
                    <a:pt x="450" y="67"/>
                  </a:lnTo>
                  <a:lnTo>
                    <a:pt x="477" y="94"/>
                  </a:lnTo>
                  <a:lnTo>
                    <a:pt x="500" y="124"/>
                  </a:lnTo>
                  <a:lnTo>
                    <a:pt x="518" y="157"/>
                  </a:lnTo>
                  <a:lnTo>
                    <a:pt x="532" y="193"/>
                  </a:lnTo>
                  <a:lnTo>
                    <a:pt x="540" y="231"/>
                  </a:lnTo>
                  <a:lnTo>
                    <a:pt x="543" y="271"/>
                  </a:lnTo>
                  <a:lnTo>
                    <a:pt x="540" y="312"/>
                  </a:lnTo>
                  <a:lnTo>
                    <a:pt x="532" y="350"/>
                  </a:lnTo>
                  <a:lnTo>
                    <a:pt x="518" y="386"/>
                  </a:lnTo>
                  <a:lnTo>
                    <a:pt x="500" y="419"/>
                  </a:lnTo>
                  <a:lnTo>
                    <a:pt x="477" y="449"/>
                  </a:lnTo>
                  <a:lnTo>
                    <a:pt x="450" y="476"/>
                  </a:lnTo>
                  <a:lnTo>
                    <a:pt x="420" y="499"/>
                  </a:lnTo>
                  <a:lnTo>
                    <a:pt x="386" y="517"/>
                  </a:lnTo>
                  <a:lnTo>
                    <a:pt x="350" y="531"/>
                  </a:lnTo>
                  <a:lnTo>
                    <a:pt x="312" y="539"/>
                  </a:lnTo>
                  <a:lnTo>
                    <a:pt x="272" y="542"/>
                  </a:lnTo>
                  <a:lnTo>
                    <a:pt x="232" y="539"/>
                  </a:lnTo>
                  <a:lnTo>
                    <a:pt x="193" y="531"/>
                  </a:lnTo>
                  <a:lnTo>
                    <a:pt x="157" y="517"/>
                  </a:lnTo>
                  <a:lnTo>
                    <a:pt x="124" y="499"/>
                  </a:lnTo>
                  <a:lnTo>
                    <a:pt x="94" y="476"/>
                  </a:lnTo>
                  <a:lnTo>
                    <a:pt x="66" y="449"/>
                  </a:lnTo>
                  <a:lnTo>
                    <a:pt x="43" y="419"/>
                  </a:lnTo>
                  <a:lnTo>
                    <a:pt x="25" y="386"/>
                  </a:lnTo>
                  <a:lnTo>
                    <a:pt x="11" y="350"/>
                  </a:lnTo>
                  <a:lnTo>
                    <a:pt x="3" y="312"/>
                  </a:lnTo>
                  <a:lnTo>
                    <a:pt x="0" y="271"/>
                  </a:lnTo>
                  <a:lnTo>
                    <a:pt x="3" y="231"/>
                  </a:lnTo>
                  <a:lnTo>
                    <a:pt x="11" y="193"/>
                  </a:lnTo>
                  <a:lnTo>
                    <a:pt x="25" y="157"/>
                  </a:lnTo>
                  <a:lnTo>
                    <a:pt x="43" y="124"/>
                  </a:lnTo>
                  <a:lnTo>
                    <a:pt x="66" y="94"/>
                  </a:lnTo>
                  <a:lnTo>
                    <a:pt x="94" y="67"/>
                  </a:lnTo>
                  <a:lnTo>
                    <a:pt x="124" y="44"/>
                  </a:lnTo>
                  <a:lnTo>
                    <a:pt x="157" y="26"/>
                  </a:lnTo>
                  <a:lnTo>
                    <a:pt x="193" y="12"/>
                  </a:lnTo>
                  <a:lnTo>
                    <a:pt x="232" y="3"/>
                  </a:lnTo>
                  <a:lnTo>
                    <a:pt x="2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031">
              <a:extLst>
                <a:ext uri="{FF2B5EF4-FFF2-40B4-BE49-F238E27FC236}">
                  <a16:creationId xmlns:a16="http://schemas.microsoft.com/office/drawing/2014/main" id="{083A30E1-C08F-8D6C-2E6F-BD66088F21C3}"/>
                </a:ext>
              </a:extLst>
            </p:cNvPr>
            <p:cNvSpPr>
              <a:spLocks/>
            </p:cNvSpPr>
            <p:nvPr/>
          </p:nvSpPr>
          <p:spPr bwMode="auto">
            <a:xfrm>
              <a:off x="9323388" y="3965576"/>
              <a:ext cx="233362" cy="53975"/>
            </a:xfrm>
            <a:custGeom>
              <a:avLst/>
              <a:gdLst>
                <a:gd name="T0" fmla="*/ 1017 w 2651"/>
                <a:gd name="T1" fmla="*/ 0 h 618"/>
                <a:gd name="T2" fmla="*/ 1101 w 2651"/>
                <a:gd name="T3" fmla="*/ 12 h 618"/>
                <a:gd name="T4" fmla="*/ 1177 w 2651"/>
                <a:gd name="T5" fmla="*/ 45 h 618"/>
                <a:gd name="T6" fmla="*/ 1241 w 2651"/>
                <a:gd name="T7" fmla="*/ 96 h 618"/>
                <a:gd name="T8" fmla="*/ 1289 w 2651"/>
                <a:gd name="T9" fmla="*/ 161 h 618"/>
                <a:gd name="T10" fmla="*/ 1318 w 2651"/>
                <a:gd name="T11" fmla="*/ 240 h 618"/>
                <a:gd name="T12" fmla="*/ 1333 w 2651"/>
                <a:gd name="T13" fmla="*/ 241 h 618"/>
                <a:gd name="T14" fmla="*/ 1363 w 2651"/>
                <a:gd name="T15" fmla="*/ 163 h 618"/>
                <a:gd name="T16" fmla="*/ 1411 w 2651"/>
                <a:gd name="T17" fmla="*/ 98 h 618"/>
                <a:gd name="T18" fmla="*/ 1474 w 2651"/>
                <a:gd name="T19" fmla="*/ 47 h 618"/>
                <a:gd name="T20" fmla="*/ 1550 w 2651"/>
                <a:gd name="T21" fmla="*/ 15 h 618"/>
                <a:gd name="T22" fmla="*/ 1635 w 2651"/>
                <a:gd name="T23" fmla="*/ 3 h 618"/>
                <a:gd name="T24" fmla="*/ 2381 w 2651"/>
                <a:gd name="T25" fmla="*/ 6 h 618"/>
                <a:gd name="T26" fmla="*/ 2459 w 2651"/>
                <a:gd name="T27" fmla="*/ 27 h 618"/>
                <a:gd name="T28" fmla="*/ 2528 w 2651"/>
                <a:gd name="T29" fmla="*/ 67 h 618"/>
                <a:gd name="T30" fmla="*/ 2585 w 2651"/>
                <a:gd name="T31" fmla="*/ 123 h 618"/>
                <a:gd name="T32" fmla="*/ 2625 w 2651"/>
                <a:gd name="T33" fmla="*/ 191 h 618"/>
                <a:gd name="T34" fmla="*/ 2646 w 2651"/>
                <a:gd name="T35" fmla="*/ 270 h 618"/>
                <a:gd name="T36" fmla="*/ 2651 w 2651"/>
                <a:gd name="T37" fmla="*/ 618 h 618"/>
                <a:gd name="T38" fmla="*/ 2387 w 2651"/>
                <a:gd name="T39" fmla="*/ 312 h 618"/>
                <a:gd name="T40" fmla="*/ 2378 w 2651"/>
                <a:gd name="T41" fmla="*/ 294 h 618"/>
                <a:gd name="T42" fmla="*/ 2359 w 2651"/>
                <a:gd name="T43" fmla="*/ 286 h 618"/>
                <a:gd name="T44" fmla="*/ 2340 w 2651"/>
                <a:gd name="T45" fmla="*/ 295 h 618"/>
                <a:gd name="T46" fmla="*/ 2332 w 2651"/>
                <a:gd name="T47" fmla="*/ 314 h 618"/>
                <a:gd name="T48" fmla="*/ 1638 w 2651"/>
                <a:gd name="T49" fmla="*/ 618 h 618"/>
                <a:gd name="T50" fmla="*/ 1636 w 2651"/>
                <a:gd name="T51" fmla="*/ 303 h 618"/>
                <a:gd name="T52" fmla="*/ 1621 w 2651"/>
                <a:gd name="T53" fmla="*/ 289 h 618"/>
                <a:gd name="T54" fmla="*/ 1602 w 2651"/>
                <a:gd name="T55" fmla="*/ 289 h 618"/>
                <a:gd name="T56" fmla="*/ 1588 w 2651"/>
                <a:gd name="T57" fmla="*/ 303 h 618"/>
                <a:gd name="T58" fmla="*/ 1586 w 2651"/>
                <a:gd name="T59" fmla="*/ 313 h 618"/>
                <a:gd name="T60" fmla="*/ 1066 w 2651"/>
                <a:gd name="T61" fmla="*/ 618 h 618"/>
                <a:gd name="T62" fmla="*/ 1065 w 2651"/>
                <a:gd name="T63" fmla="*/ 309 h 618"/>
                <a:gd name="T64" fmla="*/ 1057 w 2651"/>
                <a:gd name="T65" fmla="*/ 290 h 618"/>
                <a:gd name="T66" fmla="*/ 1038 w 2651"/>
                <a:gd name="T67" fmla="*/ 282 h 618"/>
                <a:gd name="T68" fmla="*/ 1018 w 2651"/>
                <a:gd name="T69" fmla="*/ 290 h 618"/>
                <a:gd name="T70" fmla="*/ 1010 w 2651"/>
                <a:gd name="T71" fmla="*/ 309 h 618"/>
                <a:gd name="T72" fmla="*/ 997 w 2651"/>
                <a:gd name="T73" fmla="*/ 618 h 618"/>
                <a:gd name="T74" fmla="*/ 953 w 2651"/>
                <a:gd name="T75" fmla="*/ 618 h 618"/>
                <a:gd name="T76" fmla="*/ 883 w 2651"/>
                <a:gd name="T77" fmla="*/ 618 h 618"/>
                <a:gd name="T78" fmla="*/ 784 w 2651"/>
                <a:gd name="T79" fmla="*/ 618 h 618"/>
                <a:gd name="T80" fmla="*/ 657 w 2651"/>
                <a:gd name="T81" fmla="*/ 618 h 618"/>
                <a:gd name="T82" fmla="*/ 501 w 2651"/>
                <a:gd name="T83" fmla="*/ 618 h 618"/>
                <a:gd name="T84" fmla="*/ 315 w 2651"/>
                <a:gd name="T85" fmla="*/ 618 h 618"/>
                <a:gd name="T86" fmla="*/ 313 w 2651"/>
                <a:gd name="T87" fmla="*/ 300 h 618"/>
                <a:gd name="T88" fmla="*/ 299 w 2651"/>
                <a:gd name="T89" fmla="*/ 286 h 618"/>
                <a:gd name="T90" fmla="*/ 280 w 2651"/>
                <a:gd name="T91" fmla="*/ 286 h 618"/>
                <a:gd name="T92" fmla="*/ 266 w 2651"/>
                <a:gd name="T93" fmla="*/ 300 h 618"/>
                <a:gd name="T94" fmla="*/ 264 w 2651"/>
                <a:gd name="T95" fmla="*/ 310 h 618"/>
                <a:gd name="T96" fmla="*/ 180 w 2651"/>
                <a:gd name="T97" fmla="*/ 618 h 618"/>
                <a:gd name="T98" fmla="*/ 0 w 2651"/>
                <a:gd name="T99" fmla="*/ 618 h 618"/>
                <a:gd name="T100" fmla="*/ 5 w 2651"/>
                <a:gd name="T101" fmla="*/ 267 h 618"/>
                <a:gd name="T102" fmla="*/ 26 w 2651"/>
                <a:gd name="T103" fmla="*/ 188 h 618"/>
                <a:gd name="T104" fmla="*/ 68 w 2651"/>
                <a:gd name="T105" fmla="*/ 120 h 618"/>
                <a:gd name="T106" fmla="*/ 123 w 2651"/>
                <a:gd name="T107" fmla="*/ 64 h 618"/>
                <a:gd name="T108" fmla="*/ 192 w 2651"/>
                <a:gd name="T109" fmla="*/ 24 h 618"/>
                <a:gd name="T110" fmla="*/ 271 w 2651"/>
                <a:gd name="T111" fmla="*/ 3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51" h="618">
                  <a:moveTo>
                    <a:pt x="312" y="0"/>
                  </a:moveTo>
                  <a:lnTo>
                    <a:pt x="1017" y="0"/>
                  </a:lnTo>
                  <a:lnTo>
                    <a:pt x="1060" y="3"/>
                  </a:lnTo>
                  <a:lnTo>
                    <a:pt x="1101" y="12"/>
                  </a:lnTo>
                  <a:lnTo>
                    <a:pt x="1140" y="26"/>
                  </a:lnTo>
                  <a:lnTo>
                    <a:pt x="1177" y="45"/>
                  </a:lnTo>
                  <a:lnTo>
                    <a:pt x="1211" y="68"/>
                  </a:lnTo>
                  <a:lnTo>
                    <a:pt x="1241" y="96"/>
                  </a:lnTo>
                  <a:lnTo>
                    <a:pt x="1267" y="127"/>
                  </a:lnTo>
                  <a:lnTo>
                    <a:pt x="1289" y="161"/>
                  </a:lnTo>
                  <a:lnTo>
                    <a:pt x="1306" y="199"/>
                  </a:lnTo>
                  <a:lnTo>
                    <a:pt x="1318" y="240"/>
                  </a:lnTo>
                  <a:lnTo>
                    <a:pt x="1326" y="282"/>
                  </a:lnTo>
                  <a:lnTo>
                    <a:pt x="1333" y="241"/>
                  </a:lnTo>
                  <a:lnTo>
                    <a:pt x="1346" y="200"/>
                  </a:lnTo>
                  <a:lnTo>
                    <a:pt x="1363" y="163"/>
                  </a:lnTo>
                  <a:lnTo>
                    <a:pt x="1385" y="129"/>
                  </a:lnTo>
                  <a:lnTo>
                    <a:pt x="1411" y="98"/>
                  </a:lnTo>
                  <a:lnTo>
                    <a:pt x="1441" y="71"/>
                  </a:lnTo>
                  <a:lnTo>
                    <a:pt x="1474" y="47"/>
                  </a:lnTo>
                  <a:lnTo>
                    <a:pt x="1512" y="29"/>
                  </a:lnTo>
                  <a:lnTo>
                    <a:pt x="1550" y="15"/>
                  </a:lnTo>
                  <a:lnTo>
                    <a:pt x="1591" y="6"/>
                  </a:lnTo>
                  <a:lnTo>
                    <a:pt x="1635" y="3"/>
                  </a:lnTo>
                  <a:lnTo>
                    <a:pt x="2339" y="3"/>
                  </a:lnTo>
                  <a:lnTo>
                    <a:pt x="2381" y="6"/>
                  </a:lnTo>
                  <a:lnTo>
                    <a:pt x="2422" y="14"/>
                  </a:lnTo>
                  <a:lnTo>
                    <a:pt x="2459" y="27"/>
                  </a:lnTo>
                  <a:lnTo>
                    <a:pt x="2495" y="45"/>
                  </a:lnTo>
                  <a:lnTo>
                    <a:pt x="2528" y="67"/>
                  </a:lnTo>
                  <a:lnTo>
                    <a:pt x="2557" y="93"/>
                  </a:lnTo>
                  <a:lnTo>
                    <a:pt x="2585" y="123"/>
                  </a:lnTo>
                  <a:lnTo>
                    <a:pt x="2607" y="155"/>
                  </a:lnTo>
                  <a:lnTo>
                    <a:pt x="2625" y="191"/>
                  </a:lnTo>
                  <a:lnTo>
                    <a:pt x="2638" y="230"/>
                  </a:lnTo>
                  <a:lnTo>
                    <a:pt x="2646" y="270"/>
                  </a:lnTo>
                  <a:lnTo>
                    <a:pt x="2649" y="311"/>
                  </a:lnTo>
                  <a:lnTo>
                    <a:pt x="2651" y="618"/>
                  </a:lnTo>
                  <a:lnTo>
                    <a:pt x="2388" y="618"/>
                  </a:lnTo>
                  <a:lnTo>
                    <a:pt x="2387" y="312"/>
                  </a:lnTo>
                  <a:lnTo>
                    <a:pt x="2384" y="302"/>
                  </a:lnTo>
                  <a:lnTo>
                    <a:pt x="2378" y="294"/>
                  </a:lnTo>
                  <a:lnTo>
                    <a:pt x="2369" y="288"/>
                  </a:lnTo>
                  <a:lnTo>
                    <a:pt x="2359" y="286"/>
                  </a:lnTo>
                  <a:lnTo>
                    <a:pt x="2348" y="289"/>
                  </a:lnTo>
                  <a:lnTo>
                    <a:pt x="2340" y="295"/>
                  </a:lnTo>
                  <a:lnTo>
                    <a:pt x="2334" y="303"/>
                  </a:lnTo>
                  <a:lnTo>
                    <a:pt x="2332" y="314"/>
                  </a:lnTo>
                  <a:lnTo>
                    <a:pt x="2332" y="618"/>
                  </a:lnTo>
                  <a:lnTo>
                    <a:pt x="1638" y="618"/>
                  </a:lnTo>
                  <a:lnTo>
                    <a:pt x="1638" y="313"/>
                  </a:lnTo>
                  <a:lnTo>
                    <a:pt x="1636" y="303"/>
                  </a:lnTo>
                  <a:lnTo>
                    <a:pt x="1629" y="295"/>
                  </a:lnTo>
                  <a:lnTo>
                    <a:pt x="1621" y="289"/>
                  </a:lnTo>
                  <a:lnTo>
                    <a:pt x="1612" y="287"/>
                  </a:lnTo>
                  <a:lnTo>
                    <a:pt x="1602" y="289"/>
                  </a:lnTo>
                  <a:lnTo>
                    <a:pt x="1594" y="295"/>
                  </a:lnTo>
                  <a:lnTo>
                    <a:pt x="1588" y="303"/>
                  </a:lnTo>
                  <a:lnTo>
                    <a:pt x="1586" y="312"/>
                  </a:lnTo>
                  <a:lnTo>
                    <a:pt x="1586" y="313"/>
                  </a:lnTo>
                  <a:lnTo>
                    <a:pt x="1585" y="618"/>
                  </a:lnTo>
                  <a:lnTo>
                    <a:pt x="1066" y="618"/>
                  </a:lnTo>
                  <a:lnTo>
                    <a:pt x="1065" y="310"/>
                  </a:lnTo>
                  <a:lnTo>
                    <a:pt x="1065" y="309"/>
                  </a:lnTo>
                  <a:lnTo>
                    <a:pt x="1063" y="298"/>
                  </a:lnTo>
                  <a:lnTo>
                    <a:pt x="1057" y="290"/>
                  </a:lnTo>
                  <a:lnTo>
                    <a:pt x="1048" y="284"/>
                  </a:lnTo>
                  <a:lnTo>
                    <a:pt x="1038" y="282"/>
                  </a:lnTo>
                  <a:lnTo>
                    <a:pt x="1027" y="284"/>
                  </a:lnTo>
                  <a:lnTo>
                    <a:pt x="1018" y="290"/>
                  </a:lnTo>
                  <a:lnTo>
                    <a:pt x="1012" y="298"/>
                  </a:lnTo>
                  <a:lnTo>
                    <a:pt x="1010" y="309"/>
                  </a:lnTo>
                  <a:lnTo>
                    <a:pt x="1010" y="618"/>
                  </a:lnTo>
                  <a:lnTo>
                    <a:pt x="997" y="618"/>
                  </a:lnTo>
                  <a:lnTo>
                    <a:pt x="978" y="618"/>
                  </a:lnTo>
                  <a:lnTo>
                    <a:pt x="953" y="618"/>
                  </a:lnTo>
                  <a:lnTo>
                    <a:pt x="921" y="618"/>
                  </a:lnTo>
                  <a:lnTo>
                    <a:pt x="883" y="618"/>
                  </a:lnTo>
                  <a:lnTo>
                    <a:pt x="836" y="618"/>
                  </a:lnTo>
                  <a:lnTo>
                    <a:pt x="784" y="618"/>
                  </a:lnTo>
                  <a:lnTo>
                    <a:pt x="725" y="618"/>
                  </a:lnTo>
                  <a:lnTo>
                    <a:pt x="657" y="618"/>
                  </a:lnTo>
                  <a:lnTo>
                    <a:pt x="584" y="618"/>
                  </a:lnTo>
                  <a:lnTo>
                    <a:pt x="501" y="618"/>
                  </a:lnTo>
                  <a:lnTo>
                    <a:pt x="412" y="618"/>
                  </a:lnTo>
                  <a:lnTo>
                    <a:pt x="315" y="618"/>
                  </a:lnTo>
                  <a:lnTo>
                    <a:pt x="315" y="310"/>
                  </a:lnTo>
                  <a:lnTo>
                    <a:pt x="313" y="300"/>
                  </a:lnTo>
                  <a:lnTo>
                    <a:pt x="307" y="292"/>
                  </a:lnTo>
                  <a:lnTo>
                    <a:pt x="299" y="286"/>
                  </a:lnTo>
                  <a:lnTo>
                    <a:pt x="290" y="284"/>
                  </a:lnTo>
                  <a:lnTo>
                    <a:pt x="280" y="286"/>
                  </a:lnTo>
                  <a:lnTo>
                    <a:pt x="272" y="292"/>
                  </a:lnTo>
                  <a:lnTo>
                    <a:pt x="266" y="300"/>
                  </a:lnTo>
                  <a:lnTo>
                    <a:pt x="264" y="310"/>
                  </a:lnTo>
                  <a:lnTo>
                    <a:pt x="264" y="310"/>
                  </a:lnTo>
                  <a:lnTo>
                    <a:pt x="263" y="618"/>
                  </a:lnTo>
                  <a:lnTo>
                    <a:pt x="180" y="618"/>
                  </a:lnTo>
                  <a:lnTo>
                    <a:pt x="93" y="618"/>
                  </a:lnTo>
                  <a:lnTo>
                    <a:pt x="0" y="618"/>
                  </a:lnTo>
                  <a:lnTo>
                    <a:pt x="2" y="308"/>
                  </a:lnTo>
                  <a:lnTo>
                    <a:pt x="5" y="267"/>
                  </a:lnTo>
                  <a:lnTo>
                    <a:pt x="13" y="227"/>
                  </a:lnTo>
                  <a:lnTo>
                    <a:pt x="26" y="188"/>
                  </a:lnTo>
                  <a:lnTo>
                    <a:pt x="44" y="152"/>
                  </a:lnTo>
                  <a:lnTo>
                    <a:pt x="68" y="120"/>
                  </a:lnTo>
                  <a:lnTo>
                    <a:pt x="94" y="90"/>
                  </a:lnTo>
                  <a:lnTo>
                    <a:pt x="123" y="64"/>
                  </a:lnTo>
                  <a:lnTo>
                    <a:pt x="156" y="42"/>
                  </a:lnTo>
                  <a:lnTo>
                    <a:pt x="192" y="24"/>
                  </a:lnTo>
                  <a:lnTo>
                    <a:pt x="231" y="11"/>
                  </a:lnTo>
                  <a:lnTo>
                    <a:pt x="271" y="3"/>
                  </a:lnTo>
                  <a:lnTo>
                    <a:pt x="3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32">
              <a:extLst>
                <a:ext uri="{FF2B5EF4-FFF2-40B4-BE49-F238E27FC236}">
                  <a16:creationId xmlns:a16="http://schemas.microsoft.com/office/drawing/2014/main" id="{D64F2EB2-174E-766A-43B6-161C169010B1}"/>
                </a:ext>
              </a:extLst>
            </p:cNvPr>
            <p:cNvSpPr>
              <a:spLocks/>
            </p:cNvSpPr>
            <p:nvPr/>
          </p:nvSpPr>
          <p:spPr bwMode="auto">
            <a:xfrm>
              <a:off x="9282113" y="3883026"/>
              <a:ext cx="68262" cy="136525"/>
            </a:xfrm>
            <a:custGeom>
              <a:avLst/>
              <a:gdLst>
                <a:gd name="T0" fmla="*/ 264 w 781"/>
                <a:gd name="T1" fmla="*/ 0 h 1561"/>
                <a:gd name="T2" fmla="*/ 710 w 781"/>
                <a:gd name="T3" fmla="*/ 0 h 1561"/>
                <a:gd name="T4" fmla="*/ 725 w 781"/>
                <a:gd name="T5" fmla="*/ 2 h 1561"/>
                <a:gd name="T6" fmla="*/ 739 w 781"/>
                <a:gd name="T7" fmla="*/ 9 h 1561"/>
                <a:gd name="T8" fmla="*/ 749 w 781"/>
                <a:gd name="T9" fmla="*/ 19 h 1561"/>
                <a:gd name="T10" fmla="*/ 756 w 781"/>
                <a:gd name="T11" fmla="*/ 33 h 1561"/>
                <a:gd name="T12" fmla="*/ 759 w 781"/>
                <a:gd name="T13" fmla="*/ 48 h 1561"/>
                <a:gd name="T14" fmla="*/ 759 w 781"/>
                <a:gd name="T15" fmla="*/ 414 h 1561"/>
                <a:gd name="T16" fmla="*/ 743 w 781"/>
                <a:gd name="T17" fmla="*/ 454 h 1561"/>
                <a:gd name="T18" fmla="*/ 731 w 781"/>
                <a:gd name="T19" fmla="*/ 496 h 1561"/>
                <a:gd name="T20" fmla="*/ 724 w 781"/>
                <a:gd name="T21" fmla="*/ 540 h 1561"/>
                <a:gd name="T22" fmla="*/ 721 w 781"/>
                <a:gd name="T23" fmla="*/ 585 h 1561"/>
                <a:gd name="T24" fmla="*/ 724 w 781"/>
                <a:gd name="T25" fmla="*/ 632 h 1561"/>
                <a:gd name="T26" fmla="*/ 732 w 781"/>
                <a:gd name="T27" fmla="*/ 677 h 1561"/>
                <a:gd name="T28" fmla="*/ 744 w 781"/>
                <a:gd name="T29" fmla="*/ 721 h 1561"/>
                <a:gd name="T30" fmla="*/ 760 w 781"/>
                <a:gd name="T31" fmla="*/ 761 h 1561"/>
                <a:gd name="T32" fmla="*/ 781 w 781"/>
                <a:gd name="T33" fmla="*/ 800 h 1561"/>
                <a:gd name="T34" fmla="*/ 729 w 781"/>
                <a:gd name="T35" fmla="*/ 803 h 1561"/>
                <a:gd name="T36" fmla="*/ 677 w 781"/>
                <a:gd name="T37" fmla="*/ 812 h 1561"/>
                <a:gd name="T38" fmla="*/ 629 w 781"/>
                <a:gd name="T39" fmla="*/ 826 h 1561"/>
                <a:gd name="T40" fmla="*/ 583 w 781"/>
                <a:gd name="T41" fmla="*/ 846 h 1561"/>
                <a:gd name="T42" fmla="*/ 540 w 781"/>
                <a:gd name="T43" fmla="*/ 870 h 1561"/>
                <a:gd name="T44" fmla="*/ 499 w 781"/>
                <a:gd name="T45" fmla="*/ 900 h 1561"/>
                <a:gd name="T46" fmla="*/ 462 w 781"/>
                <a:gd name="T47" fmla="*/ 933 h 1561"/>
                <a:gd name="T48" fmla="*/ 430 w 781"/>
                <a:gd name="T49" fmla="*/ 970 h 1561"/>
                <a:gd name="T50" fmla="*/ 401 w 781"/>
                <a:gd name="T51" fmla="*/ 1010 h 1561"/>
                <a:gd name="T52" fmla="*/ 375 w 781"/>
                <a:gd name="T53" fmla="*/ 1053 h 1561"/>
                <a:gd name="T54" fmla="*/ 356 w 781"/>
                <a:gd name="T55" fmla="*/ 1099 h 1561"/>
                <a:gd name="T56" fmla="*/ 341 w 781"/>
                <a:gd name="T57" fmla="*/ 1147 h 1561"/>
                <a:gd name="T58" fmla="*/ 332 w 781"/>
                <a:gd name="T59" fmla="*/ 1198 h 1561"/>
                <a:gd name="T60" fmla="*/ 329 w 781"/>
                <a:gd name="T61" fmla="*/ 1251 h 1561"/>
                <a:gd name="T62" fmla="*/ 327 w 781"/>
                <a:gd name="T63" fmla="*/ 1561 h 1561"/>
                <a:gd name="T64" fmla="*/ 239 w 781"/>
                <a:gd name="T65" fmla="*/ 1561 h 1561"/>
                <a:gd name="T66" fmla="*/ 145 w 781"/>
                <a:gd name="T67" fmla="*/ 1561 h 1561"/>
                <a:gd name="T68" fmla="*/ 48 w 781"/>
                <a:gd name="T69" fmla="*/ 1561 h 1561"/>
                <a:gd name="T70" fmla="*/ 33 w 781"/>
                <a:gd name="T71" fmla="*/ 1559 h 1561"/>
                <a:gd name="T72" fmla="*/ 19 w 781"/>
                <a:gd name="T73" fmla="*/ 1552 h 1561"/>
                <a:gd name="T74" fmla="*/ 9 w 781"/>
                <a:gd name="T75" fmla="*/ 1541 h 1561"/>
                <a:gd name="T76" fmla="*/ 2 w 781"/>
                <a:gd name="T77" fmla="*/ 1528 h 1561"/>
                <a:gd name="T78" fmla="*/ 0 w 781"/>
                <a:gd name="T79" fmla="*/ 1513 h 1561"/>
                <a:gd name="T80" fmla="*/ 0 w 781"/>
                <a:gd name="T81" fmla="*/ 1415 h 1561"/>
                <a:gd name="T82" fmla="*/ 2 w 781"/>
                <a:gd name="T83" fmla="*/ 1400 h 1561"/>
                <a:gd name="T84" fmla="*/ 9 w 781"/>
                <a:gd name="T85" fmla="*/ 1387 h 1561"/>
                <a:gd name="T86" fmla="*/ 19 w 781"/>
                <a:gd name="T87" fmla="*/ 1376 h 1561"/>
                <a:gd name="T88" fmla="*/ 33 w 781"/>
                <a:gd name="T89" fmla="*/ 1369 h 1561"/>
                <a:gd name="T90" fmla="*/ 48 w 781"/>
                <a:gd name="T91" fmla="*/ 1367 h 1561"/>
                <a:gd name="T92" fmla="*/ 215 w 781"/>
                <a:gd name="T93" fmla="*/ 1367 h 1561"/>
                <a:gd name="T94" fmla="*/ 215 w 781"/>
                <a:gd name="T95" fmla="*/ 48 h 1561"/>
                <a:gd name="T96" fmla="*/ 217 w 781"/>
                <a:gd name="T97" fmla="*/ 33 h 1561"/>
                <a:gd name="T98" fmla="*/ 225 w 781"/>
                <a:gd name="T99" fmla="*/ 19 h 1561"/>
                <a:gd name="T100" fmla="*/ 236 w 781"/>
                <a:gd name="T101" fmla="*/ 9 h 1561"/>
                <a:gd name="T102" fmla="*/ 249 w 781"/>
                <a:gd name="T103" fmla="*/ 2 h 1561"/>
                <a:gd name="T104" fmla="*/ 264 w 781"/>
                <a:gd name="T105" fmla="*/ 0 h 1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1" h="1561">
                  <a:moveTo>
                    <a:pt x="264" y="0"/>
                  </a:moveTo>
                  <a:lnTo>
                    <a:pt x="710" y="0"/>
                  </a:lnTo>
                  <a:lnTo>
                    <a:pt x="725" y="2"/>
                  </a:lnTo>
                  <a:lnTo>
                    <a:pt x="739" y="9"/>
                  </a:lnTo>
                  <a:lnTo>
                    <a:pt x="749" y="19"/>
                  </a:lnTo>
                  <a:lnTo>
                    <a:pt x="756" y="33"/>
                  </a:lnTo>
                  <a:lnTo>
                    <a:pt x="759" y="48"/>
                  </a:lnTo>
                  <a:lnTo>
                    <a:pt x="759" y="414"/>
                  </a:lnTo>
                  <a:lnTo>
                    <a:pt x="743" y="454"/>
                  </a:lnTo>
                  <a:lnTo>
                    <a:pt x="731" y="496"/>
                  </a:lnTo>
                  <a:lnTo>
                    <a:pt x="724" y="540"/>
                  </a:lnTo>
                  <a:lnTo>
                    <a:pt x="721" y="585"/>
                  </a:lnTo>
                  <a:lnTo>
                    <a:pt x="724" y="632"/>
                  </a:lnTo>
                  <a:lnTo>
                    <a:pt x="732" y="677"/>
                  </a:lnTo>
                  <a:lnTo>
                    <a:pt x="744" y="721"/>
                  </a:lnTo>
                  <a:lnTo>
                    <a:pt x="760" y="761"/>
                  </a:lnTo>
                  <a:lnTo>
                    <a:pt x="781" y="800"/>
                  </a:lnTo>
                  <a:lnTo>
                    <a:pt x="729" y="803"/>
                  </a:lnTo>
                  <a:lnTo>
                    <a:pt x="677" y="812"/>
                  </a:lnTo>
                  <a:lnTo>
                    <a:pt x="629" y="826"/>
                  </a:lnTo>
                  <a:lnTo>
                    <a:pt x="583" y="846"/>
                  </a:lnTo>
                  <a:lnTo>
                    <a:pt x="540" y="870"/>
                  </a:lnTo>
                  <a:lnTo>
                    <a:pt x="499" y="900"/>
                  </a:lnTo>
                  <a:lnTo>
                    <a:pt x="462" y="933"/>
                  </a:lnTo>
                  <a:lnTo>
                    <a:pt x="430" y="970"/>
                  </a:lnTo>
                  <a:lnTo>
                    <a:pt x="401" y="1010"/>
                  </a:lnTo>
                  <a:lnTo>
                    <a:pt x="375" y="1053"/>
                  </a:lnTo>
                  <a:lnTo>
                    <a:pt x="356" y="1099"/>
                  </a:lnTo>
                  <a:lnTo>
                    <a:pt x="341" y="1147"/>
                  </a:lnTo>
                  <a:lnTo>
                    <a:pt x="332" y="1198"/>
                  </a:lnTo>
                  <a:lnTo>
                    <a:pt x="329" y="1251"/>
                  </a:lnTo>
                  <a:lnTo>
                    <a:pt x="327" y="1561"/>
                  </a:lnTo>
                  <a:lnTo>
                    <a:pt x="239" y="1561"/>
                  </a:lnTo>
                  <a:lnTo>
                    <a:pt x="145" y="1561"/>
                  </a:lnTo>
                  <a:lnTo>
                    <a:pt x="48" y="1561"/>
                  </a:lnTo>
                  <a:lnTo>
                    <a:pt x="33" y="1559"/>
                  </a:lnTo>
                  <a:lnTo>
                    <a:pt x="19" y="1552"/>
                  </a:lnTo>
                  <a:lnTo>
                    <a:pt x="9" y="1541"/>
                  </a:lnTo>
                  <a:lnTo>
                    <a:pt x="2" y="1528"/>
                  </a:lnTo>
                  <a:lnTo>
                    <a:pt x="0" y="1513"/>
                  </a:lnTo>
                  <a:lnTo>
                    <a:pt x="0" y="1415"/>
                  </a:lnTo>
                  <a:lnTo>
                    <a:pt x="2" y="1400"/>
                  </a:lnTo>
                  <a:lnTo>
                    <a:pt x="9" y="1387"/>
                  </a:lnTo>
                  <a:lnTo>
                    <a:pt x="19" y="1376"/>
                  </a:lnTo>
                  <a:lnTo>
                    <a:pt x="33" y="1369"/>
                  </a:lnTo>
                  <a:lnTo>
                    <a:pt x="48" y="1367"/>
                  </a:lnTo>
                  <a:lnTo>
                    <a:pt x="215" y="1367"/>
                  </a:lnTo>
                  <a:lnTo>
                    <a:pt x="215" y="48"/>
                  </a:lnTo>
                  <a:lnTo>
                    <a:pt x="217" y="33"/>
                  </a:lnTo>
                  <a:lnTo>
                    <a:pt x="225" y="19"/>
                  </a:lnTo>
                  <a:lnTo>
                    <a:pt x="236" y="9"/>
                  </a:lnTo>
                  <a:lnTo>
                    <a:pt x="249" y="2"/>
                  </a:lnTo>
                  <a:lnTo>
                    <a:pt x="2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1033">
              <a:extLst>
                <a:ext uri="{FF2B5EF4-FFF2-40B4-BE49-F238E27FC236}">
                  <a16:creationId xmlns:a16="http://schemas.microsoft.com/office/drawing/2014/main" id="{D232B2DD-A6A5-E746-D8EA-4AC695E5C85B}"/>
                </a:ext>
              </a:extLst>
            </p:cNvPr>
            <p:cNvSpPr>
              <a:spLocks/>
            </p:cNvSpPr>
            <p:nvPr/>
          </p:nvSpPr>
          <p:spPr bwMode="auto">
            <a:xfrm>
              <a:off x="9358313" y="3910013"/>
              <a:ext cx="47625" cy="47625"/>
            </a:xfrm>
            <a:custGeom>
              <a:avLst/>
              <a:gdLst>
                <a:gd name="T0" fmla="*/ 271 w 543"/>
                <a:gd name="T1" fmla="*/ 0 h 542"/>
                <a:gd name="T2" fmla="*/ 312 w 543"/>
                <a:gd name="T3" fmla="*/ 3 h 542"/>
                <a:gd name="T4" fmla="*/ 350 w 543"/>
                <a:gd name="T5" fmla="*/ 11 h 542"/>
                <a:gd name="T6" fmla="*/ 386 w 543"/>
                <a:gd name="T7" fmla="*/ 26 h 542"/>
                <a:gd name="T8" fmla="*/ 419 w 543"/>
                <a:gd name="T9" fmla="*/ 44 h 542"/>
                <a:gd name="T10" fmla="*/ 449 w 543"/>
                <a:gd name="T11" fmla="*/ 67 h 542"/>
                <a:gd name="T12" fmla="*/ 477 w 543"/>
                <a:gd name="T13" fmla="*/ 94 h 542"/>
                <a:gd name="T14" fmla="*/ 500 w 543"/>
                <a:gd name="T15" fmla="*/ 124 h 542"/>
                <a:gd name="T16" fmla="*/ 518 w 543"/>
                <a:gd name="T17" fmla="*/ 157 h 542"/>
                <a:gd name="T18" fmla="*/ 532 w 543"/>
                <a:gd name="T19" fmla="*/ 193 h 542"/>
                <a:gd name="T20" fmla="*/ 540 w 543"/>
                <a:gd name="T21" fmla="*/ 231 h 542"/>
                <a:gd name="T22" fmla="*/ 543 w 543"/>
                <a:gd name="T23" fmla="*/ 271 h 542"/>
                <a:gd name="T24" fmla="*/ 540 w 543"/>
                <a:gd name="T25" fmla="*/ 312 h 542"/>
                <a:gd name="T26" fmla="*/ 532 w 543"/>
                <a:gd name="T27" fmla="*/ 350 h 542"/>
                <a:gd name="T28" fmla="*/ 518 w 543"/>
                <a:gd name="T29" fmla="*/ 386 h 542"/>
                <a:gd name="T30" fmla="*/ 500 w 543"/>
                <a:gd name="T31" fmla="*/ 419 h 542"/>
                <a:gd name="T32" fmla="*/ 477 w 543"/>
                <a:gd name="T33" fmla="*/ 450 h 542"/>
                <a:gd name="T34" fmla="*/ 449 w 543"/>
                <a:gd name="T35" fmla="*/ 476 h 542"/>
                <a:gd name="T36" fmla="*/ 419 w 543"/>
                <a:gd name="T37" fmla="*/ 499 h 542"/>
                <a:gd name="T38" fmla="*/ 386 w 543"/>
                <a:gd name="T39" fmla="*/ 517 h 542"/>
                <a:gd name="T40" fmla="*/ 350 w 543"/>
                <a:gd name="T41" fmla="*/ 531 h 542"/>
                <a:gd name="T42" fmla="*/ 312 w 543"/>
                <a:gd name="T43" fmla="*/ 539 h 542"/>
                <a:gd name="T44" fmla="*/ 271 w 543"/>
                <a:gd name="T45" fmla="*/ 542 h 542"/>
                <a:gd name="T46" fmla="*/ 234 w 543"/>
                <a:gd name="T47" fmla="*/ 540 h 542"/>
                <a:gd name="T48" fmla="*/ 199 w 543"/>
                <a:gd name="T49" fmla="*/ 532 h 542"/>
                <a:gd name="T50" fmla="*/ 166 w 543"/>
                <a:gd name="T51" fmla="*/ 521 h 542"/>
                <a:gd name="T52" fmla="*/ 134 w 543"/>
                <a:gd name="T53" fmla="*/ 505 h 542"/>
                <a:gd name="T54" fmla="*/ 105 w 543"/>
                <a:gd name="T55" fmla="*/ 486 h 542"/>
                <a:gd name="T56" fmla="*/ 78 w 543"/>
                <a:gd name="T57" fmla="*/ 461 h 542"/>
                <a:gd name="T58" fmla="*/ 54 w 543"/>
                <a:gd name="T59" fmla="*/ 434 h 542"/>
                <a:gd name="T60" fmla="*/ 35 w 543"/>
                <a:gd name="T61" fmla="*/ 405 h 542"/>
                <a:gd name="T62" fmla="*/ 20 w 543"/>
                <a:gd name="T63" fmla="*/ 374 h 542"/>
                <a:gd name="T64" fmla="*/ 9 w 543"/>
                <a:gd name="T65" fmla="*/ 341 h 542"/>
                <a:gd name="T66" fmla="*/ 2 w 543"/>
                <a:gd name="T67" fmla="*/ 307 h 542"/>
                <a:gd name="T68" fmla="*/ 0 w 543"/>
                <a:gd name="T69" fmla="*/ 271 h 542"/>
                <a:gd name="T70" fmla="*/ 3 w 543"/>
                <a:gd name="T71" fmla="*/ 231 h 542"/>
                <a:gd name="T72" fmla="*/ 11 w 543"/>
                <a:gd name="T73" fmla="*/ 193 h 542"/>
                <a:gd name="T74" fmla="*/ 25 w 543"/>
                <a:gd name="T75" fmla="*/ 157 h 542"/>
                <a:gd name="T76" fmla="*/ 44 w 543"/>
                <a:gd name="T77" fmla="*/ 124 h 542"/>
                <a:gd name="T78" fmla="*/ 66 w 543"/>
                <a:gd name="T79" fmla="*/ 94 h 542"/>
                <a:gd name="T80" fmla="*/ 93 w 543"/>
                <a:gd name="T81" fmla="*/ 67 h 542"/>
                <a:gd name="T82" fmla="*/ 123 w 543"/>
                <a:gd name="T83" fmla="*/ 44 h 542"/>
                <a:gd name="T84" fmla="*/ 157 w 543"/>
                <a:gd name="T85" fmla="*/ 26 h 542"/>
                <a:gd name="T86" fmla="*/ 193 w 543"/>
                <a:gd name="T87" fmla="*/ 11 h 542"/>
                <a:gd name="T88" fmla="*/ 231 w 543"/>
                <a:gd name="T89" fmla="*/ 3 h 542"/>
                <a:gd name="T90" fmla="*/ 271 w 543"/>
                <a:gd name="T91"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3" h="542">
                  <a:moveTo>
                    <a:pt x="271" y="0"/>
                  </a:moveTo>
                  <a:lnTo>
                    <a:pt x="312" y="3"/>
                  </a:lnTo>
                  <a:lnTo>
                    <a:pt x="350" y="11"/>
                  </a:lnTo>
                  <a:lnTo>
                    <a:pt x="386" y="26"/>
                  </a:lnTo>
                  <a:lnTo>
                    <a:pt x="419" y="44"/>
                  </a:lnTo>
                  <a:lnTo>
                    <a:pt x="449" y="67"/>
                  </a:lnTo>
                  <a:lnTo>
                    <a:pt x="477" y="94"/>
                  </a:lnTo>
                  <a:lnTo>
                    <a:pt x="500" y="124"/>
                  </a:lnTo>
                  <a:lnTo>
                    <a:pt x="518" y="157"/>
                  </a:lnTo>
                  <a:lnTo>
                    <a:pt x="532" y="193"/>
                  </a:lnTo>
                  <a:lnTo>
                    <a:pt x="540" y="231"/>
                  </a:lnTo>
                  <a:lnTo>
                    <a:pt x="543" y="271"/>
                  </a:lnTo>
                  <a:lnTo>
                    <a:pt x="540" y="312"/>
                  </a:lnTo>
                  <a:lnTo>
                    <a:pt x="532" y="350"/>
                  </a:lnTo>
                  <a:lnTo>
                    <a:pt x="518" y="386"/>
                  </a:lnTo>
                  <a:lnTo>
                    <a:pt x="500" y="419"/>
                  </a:lnTo>
                  <a:lnTo>
                    <a:pt x="477" y="450"/>
                  </a:lnTo>
                  <a:lnTo>
                    <a:pt x="449" y="476"/>
                  </a:lnTo>
                  <a:lnTo>
                    <a:pt x="419" y="499"/>
                  </a:lnTo>
                  <a:lnTo>
                    <a:pt x="386" y="517"/>
                  </a:lnTo>
                  <a:lnTo>
                    <a:pt x="350" y="531"/>
                  </a:lnTo>
                  <a:lnTo>
                    <a:pt x="312" y="539"/>
                  </a:lnTo>
                  <a:lnTo>
                    <a:pt x="271" y="542"/>
                  </a:lnTo>
                  <a:lnTo>
                    <a:pt x="234" y="540"/>
                  </a:lnTo>
                  <a:lnTo>
                    <a:pt x="199" y="532"/>
                  </a:lnTo>
                  <a:lnTo>
                    <a:pt x="166" y="521"/>
                  </a:lnTo>
                  <a:lnTo>
                    <a:pt x="134" y="505"/>
                  </a:lnTo>
                  <a:lnTo>
                    <a:pt x="105" y="486"/>
                  </a:lnTo>
                  <a:lnTo>
                    <a:pt x="78" y="461"/>
                  </a:lnTo>
                  <a:lnTo>
                    <a:pt x="54" y="434"/>
                  </a:lnTo>
                  <a:lnTo>
                    <a:pt x="35" y="405"/>
                  </a:lnTo>
                  <a:lnTo>
                    <a:pt x="20" y="374"/>
                  </a:lnTo>
                  <a:lnTo>
                    <a:pt x="9" y="341"/>
                  </a:lnTo>
                  <a:lnTo>
                    <a:pt x="2" y="307"/>
                  </a:lnTo>
                  <a:lnTo>
                    <a:pt x="0" y="271"/>
                  </a:lnTo>
                  <a:lnTo>
                    <a:pt x="3" y="231"/>
                  </a:lnTo>
                  <a:lnTo>
                    <a:pt x="11" y="193"/>
                  </a:lnTo>
                  <a:lnTo>
                    <a:pt x="25" y="157"/>
                  </a:lnTo>
                  <a:lnTo>
                    <a:pt x="44" y="124"/>
                  </a:lnTo>
                  <a:lnTo>
                    <a:pt x="66" y="94"/>
                  </a:lnTo>
                  <a:lnTo>
                    <a:pt x="93" y="67"/>
                  </a:lnTo>
                  <a:lnTo>
                    <a:pt x="123" y="44"/>
                  </a:lnTo>
                  <a:lnTo>
                    <a:pt x="157" y="26"/>
                  </a:lnTo>
                  <a:lnTo>
                    <a:pt x="193" y="11"/>
                  </a:lnTo>
                  <a:lnTo>
                    <a:pt x="231" y="3"/>
                  </a:lnTo>
                  <a:lnTo>
                    <a:pt x="27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97428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build="p"/>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559A69-F753-8F80-EDD6-7D7E41E9F193}"/>
              </a:ext>
            </a:extLst>
          </p:cNvPr>
          <p:cNvSpPr/>
          <p:nvPr/>
        </p:nvSpPr>
        <p:spPr>
          <a:xfrm>
            <a:off x="0" y="0"/>
            <a:ext cx="12192000"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4405204" y="985916"/>
            <a:ext cx="675001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ontserrat"/>
                <a:ea typeface="+mn-ea"/>
                <a:cs typeface="+mn-cs"/>
              </a:rPr>
              <a:t>What types of events is ISO 20121 intended for?</a:t>
            </a:r>
            <a:endParaRPr kumimoji="0" lang="en-ID" sz="2800" b="1" i="0" u="none" strike="noStrike" kern="1200" cap="none" spc="0" normalizeH="0" baseline="0" noProof="0">
              <a:ln>
                <a:noFill/>
              </a:ln>
              <a:solidFill>
                <a:schemeClr val="bg1"/>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4400827" y="2071534"/>
            <a:ext cx="6893625" cy="2277098"/>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marL="171450" indent="-171450" algn="l">
              <a:buFont typeface="Arial" panose="020B0604020202020204" pitchFamily="34" charset="0"/>
              <a:buChar char="•"/>
            </a:pPr>
            <a:r>
              <a:rPr lang="en-US" sz="1200" dirty="0">
                <a:solidFill>
                  <a:schemeClr val="bg1"/>
                </a:solidFill>
              </a:rPr>
              <a:t>ISO 20121 is a standard written flexibly, meaning it can be used for any kind of event, large or small. Any event that can have a potential social, environmental, or economic impact can be covered under ISO 20121.</a:t>
            </a:r>
          </a:p>
          <a:p>
            <a:pPr algn="l"/>
            <a:endParaRPr lang="en-US" sz="1200" dirty="0">
              <a:solidFill>
                <a:schemeClr val="bg1"/>
              </a:solidFill>
            </a:endParaRPr>
          </a:p>
          <a:p>
            <a:pPr marL="171450" indent="-171450" algn="l">
              <a:buFont typeface="Arial" panose="020B0604020202020204" pitchFamily="34" charset="0"/>
              <a:buChar char="•"/>
            </a:pPr>
            <a:r>
              <a:rPr lang="en-US" sz="1200" dirty="0">
                <a:solidFill>
                  <a:schemeClr val="bg1"/>
                </a:solidFill>
              </a:rPr>
              <a:t>For organizations that organize multiple events, this can be an excellent standard, as it will provide a framework for delivering many events consistently in line with sustainable development goals and ambitions and will allow the organization to clearly demonstrate these commitments.</a:t>
            </a: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grpSp>
        <p:nvGrpSpPr>
          <p:cNvPr id="11" name="Group 10">
            <a:extLst>
              <a:ext uri="{FF2B5EF4-FFF2-40B4-BE49-F238E27FC236}">
                <a16:creationId xmlns:a16="http://schemas.microsoft.com/office/drawing/2014/main" id="{155B8C08-6E12-FDFC-FBA3-38F0829AB47B}"/>
              </a:ext>
            </a:extLst>
          </p:cNvPr>
          <p:cNvGrpSpPr/>
          <p:nvPr/>
        </p:nvGrpSpPr>
        <p:grpSpPr>
          <a:xfrm>
            <a:off x="552575" y="1940023"/>
            <a:ext cx="2032877" cy="3523658"/>
            <a:chOff x="1758950" y="1089025"/>
            <a:chExt cx="285750" cy="495300"/>
          </a:xfrm>
          <a:solidFill>
            <a:schemeClr val="accent1">
              <a:lumMod val="60000"/>
              <a:lumOff val="40000"/>
            </a:schemeClr>
          </a:solidFill>
        </p:grpSpPr>
        <p:sp>
          <p:nvSpPr>
            <p:cNvPr id="13" name="Freeform 123">
              <a:extLst>
                <a:ext uri="{FF2B5EF4-FFF2-40B4-BE49-F238E27FC236}">
                  <a16:creationId xmlns:a16="http://schemas.microsoft.com/office/drawing/2014/main" id="{7CAF3C77-0782-1A76-BD1C-827607AD982D}"/>
                </a:ext>
              </a:extLst>
            </p:cNvPr>
            <p:cNvSpPr>
              <a:spLocks/>
            </p:cNvSpPr>
            <p:nvPr/>
          </p:nvSpPr>
          <p:spPr bwMode="auto">
            <a:xfrm>
              <a:off x="1851025" y="1089025"/>
              <a:ext cx="101600" cy="103188"/>
            </a:xfrm>
            <a:custGeom>
              <a:avLst/>
              <a:gdLst>
                <a:gd name="T0" fmla="*/ 356 w 712"/>
                <a:gd name="T1" fmla="*/ 0 h 711"/>
                <a:gd name="T2" fmla="*/ 404 w 712"/>
                <a:gd name="T3" fmla="*/ 3 h 711"/>
                <a:gd name="T4" fmla="*/ 451 w 712"/>
                <a:gd name="T5" fmla="*/ 13 h 711"/>
                <a:gd name="T6" fmla="*/ 495 w 712"/>
                <a:gd name="T7" fmla="*/ 27 h 711"/>
                <a:gd name="T8" fmla="*/ 536 w 712"/>
                <a:gd name="T9" fmla="*/ 48 h 711"/>
                <a:gd name="T10" fmla="*/ 573 w 712"/>
                <a:gd name="T11" fmla="*/ 74 h 711"/>
                <a:gd name="T12" fmla="*/ 608 w 712"/>
                <a:gd name="T13" fmla="*/ 104 h 711"/>
                <a:gd name="T14" fmla="*/ 638 w 712"/>
                <a:gd name="T15" fmla="*/ 138 h 711"/>
                <a:gd name="T16" fmla="*/ 663 w 712"/>
                <a:gd name="T17" fmla="*/ 175 h 711"/>
                <a:gd name="T18" fmla="*/ 684 w 712"/>
                <a:gd name="T19" fmla="*/ 217 h 711"/>
                <a:gd name="T20" fmla="*/ 700 w 712"/>
                <a:gd name="T21" fmla="*/ 261 h 711"/>
                <a:gd name="T22" fmla="*/ 709 w 712"/>
                <a:gd name="T23" fmla="*/ 307 h 711"/>
                <a:gd name="T24" fmla="*/ 712 w 712"/>
                <a:gd name="T25" fmla="*/ 355 h 711"/>
                <a:gd name="T26" fmla="*/ 709 w 712"/>
                <a:gd name="T27" fmla="*/ 403 h 711"/>
                <a:gd name="T28" fmla="*/ 700 w 712"/>
                <a:gd name="T29" fmla="*/ 449 h 711"/>
                <a:gd name="T30" fmla="*/ 684 w 712"/>
                <a:gd name="T31" fmla="*/ 493 h 711"/>
                <a:gd name="T32" fmla="*/ 663 w 712"/>
                <a:gd name="T33" fmla="*/ 534 h 711"/>
                <a:gd name="T34" fmla="*/ 638 w 712"/>
                <a:gd name="T35" fmla="*/ 572 h 711"/>
                <a:gd name="T36" fmla="*/ 608 w 712"/>
                <a:gd name="T37" fmla="*/ 606 h 711"/>
                <a:gd name="T38" fmla="*/ 573 w 712"/>
                <a:gd name="T39" fmla="*/ 636 h 711"/>
                <a:gd name="T40" fmla="*/ 536 w 712"/>
                <a:gd name="T41" fmla="*/ 662 h 711"/>
                <a:gd name="T42" fmla="*/ 495 w 712"/>
                <a:gd name="T43" fmla="*/ 683 h 711"/>
                <a:gd name="T44" fmla="*/ 451 w 712"/>
                <a:gd name="T45" fmla="*/ 697 h 711"/>
                <a:gd name="T46" fmla="*/ 404 w 712"/>
                <a:gd name="T47" fmla="*/ 707 h 711"/>
                <a:gd name="T48" fmla="*/ 356 w 712"/>
                <a:gd name="T49" fmla="*/ 711 h 711"/>
                <a:gd name="T50" fmla="*/ 308 w 712"/>
                <a:gd name="T51" fmla="*/ 707 h 711"/>
                <a:gd name="T52" fmla="*/ 262 w 712"/>
                <a:gd name="T53" fmla="*/ 697 h 711"/>
                <a:gd name="T54" fmla="*/ 218 w 712"/>
                <a:gd name="T55" fmla="*/ 683 h 711"/>
                <a:gd name="T56" fmla="*/ 176 w 712"/>
                <a:gd name="T57" fmla="*/ 662 h 711"/>
                <a:gd name="T58" fmla="*/ 138 w 712"/>
                <a:gd name="T59" fmla="*/ 636 h 711"/>
                <a:gd name="T60" fmla="*/ 105 w 712"/>
                <a:gd name="T61" fmla="*/ 606 h 711"/>
                <a:gd name="T62" fmla="*/ 75 w 712"/>
                <a:gd name="T63" fmla="*/ 572 h 711"/>
                <a:gd name="T64" fmla="*/ 48 w 712"/>
                <a:gd name="T65" fmla="*/ 534 h 711"/>
                <a:gd name="T66" fmla="*/ 29 w 712"/>
                <a:gd name="T67" fmla="*/ 493 h 711"/>
                <a:gd name="T68" fmla="*/ 13 w 712"/>
                <a:gd name="T69" fmla="*/ 449 h 711"/>
                <a:gd name="T70" fmla="*/ 4 w 712"/>
                <a:gd name="T71" fmla="*/ 403 h 711"/>
                <a:gd name="T72" fmla="*/ 0 w 712"/>
                <a:gd name="T73" fmla="*/ 355 h 711"/>
                <a:gd name="T74" fmla="*/ 4 w 712"/>
                <a:gd name="T75" fmla="*/ 307 h 711"/>
                <a:gd name="T76" fmla="*/ 13 w 712"/>
                <a:gd name="T77" fmla="*/ 261 h 711"/>
                <a:gd name="T78" fmla="*/ 29 w 712"/>
                <a:gd name="T79" fmla="*/ 217 h 711"/>
                <a:gd name="T80" fmla="*/ 48 w 712"/>
                <a:gd name="T81" fmla="*/ 175 h 711"/>
                <a:gd name="T82" fmla="*/ 75 w 712"/>
                <a:gd name="T83" fmla="*/ 138 h 711"/>
                <a:gd name="T84" fmla="*/ 105 w 712"/>
                <a:gd name="T85" fmla="*/ 104 h 711"/>
                <a:gd name="T86" fmla="*/ 138 w 712"/>
                <a:gd name="T87" fmla="*/ 74 h 711"/>
                <a:gd name="T88" fmla="*/ 176 w 712"/>
                <a:gd name="T89" fmla="*/ 48 h 711"/>
                <a:gd name="T90" fmla="*/ 218 w 712"/>
                <a:gd name="T91" fmla="*/ 27 h 711"/>
                <a:gd name="T92" fmla="*/ 262 w 712"/>
                <a:gd name="T93" fmla="*/ 13 h 711"/>
                <a:gd name="T94" fmla="*/ 308 w 712"/>
                <a:gd name="T95" fmla="*/ 3 h 711"/>
                <a:gd name="T96" fmla="*/ 356 w 712"/>
                <a:gd name="T97"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2" h="711">
                  <a:moveTo>
                    <a:pt x="356" y="0"/>
                  </a:moveTo>
                  <a:lnTo>
                    <a:pt x="404" y="3"/>
                  </a:lnTo>
                  <a:lnTo>
                    <a:pt x="451" y="13"/>
                  </a:lnTo>
                  <a:lnTo>
                    <a:pt x="495" y="27"/>
                  </a:lnTo>
                  <a:lnTo>
                    <a:pt x="536" y="48"/>
                  </a:lnTo>
                  <a:lnTo>
                    <a:pt x="573" y="74"/>
                  </a:lnTo>
                  <a:lnTo>
                    <a:pt x="608" y="104"/>
                  </a:lnTo>
                  <a:lnTo>
                    <a:pt x="638" y="138"/>
                  </a:lnTo>
                  <a:lnTo>
                    <a:pt x="663" y="175"/>
                  </a:lnTo>
                  <a:lnTo>
                    <a:pt x="684" y="217"/>
                  </a:lnTo>
                  <a:lnTo>
                    <a:pt x="700" y="261"/>
                  </a:lnTo>
                  <a:lnTo>
                    <a:pt x="709" y="307"/>
                  </a:lnTo>
                  <a:lnTo>
                    <a:pt x="712" y="355"/>
                  </a:lnTo>
                  <a:lnTo>
                    <a:pt x="709" y="403"/>
                  </a:lnTo>
                  <a:lnTo>
                    <a:pt x="700" y="449"/>
                  </a:lnTo>
                  <a:lnTo>
                    <a:pt x="684" y="493"/>
                  </a:lnTo>
                  <a:lnTo>
                    <a:pt x="663" y="534"/>
                  </a:lnTo>
                  <a:lnTo>
                    <a:pt x="638" y="572"/>
                  </a:lnTo>
                  <a:lnTo>
                    <a:pt x="608" y="606"/>
                  </a:lnTo>
                  <a:lnTo>
                    <a:pt x="573" y="636"/>
                  </a:lnTo>
                  <a:lnTo>
                    <a:pt x="536" y="662"/>
                  </a:lnTo>
                  <a:lnTo>
                    <a:pt x="495" y="683"/>
                  </a:lnTo>
                  <a:lnTo>
                    <a:pt x="451" y="697"/>
                  </a:lnTo>
                  <a:lnTo>
                    <a:pt x="404" y="707"/>
                  </a:lnTo>
                  <a:lnTo>
                    <a:pt x="356" y="711"/>
                  </a:lnTo>
                  <a:lnTo>
                    <a:pt x="308" y="707"/>
                  </a:lnTo>
                  <a:lnTo>
                    <a:pt x="262" y="697"/>
                  </a:lnTo>
                  <a:lnTo>
                    <a:pt x="218" y="683"/>
                  </a:lnTo>
                  <a:lnTo>
                    <a:pt x="176" y="662"/>
                  </a:lnTo>
                  <a:lnTo>
                    <a:pt x="138" y="636"/>
                  </a:lnTo>
                  <a:lnTo>
                    <a:pt x="105" y="606"/>
                  </a:lnTo>
                  <a:lnTo>
                    <a:pt x="75" y="572"/>
                  </a:lnTo>
                  <a:lnTo>
                    <a:pt x="48" y="534"/>
                  </a:lnTo>
                  <a:lnTo>
                    <a:pt x="29" y="493"/>
                  </a:lnTo>
                  <a:lnTo>
                    <a:pt x="13" y="449"/>
                  </a:lnTo>
                  <a:lnTo>
                    <a:pt x="4" y="403"/>
                  </a:lnTo>
                  <a:lnTo>
                    <a:pt x="0" y="355"/>
                  </a:lnTo>
                  <a:lnTo>
                    <a:pt x="4" y="307"/>
                  </a:lnTo>
                  <a:lnTo>
                    <a:pt x="13" y="261"/>
                  </a:lnTo>
                  <a:lnTo>
                    <a:pt x="29" y="217"/>
                  </a:lnTo>
                  <a:lnTo>
                    <a:pt x="48" y="175"/>
                  </a:lnTo>
                  <a:lnTo>
                    <a:pt x="75" y="138"/>
                  </a:lnTo>
                  <a:lnTo>
                    <a:pt x="105" y="104"/>
                  </a:lnTo>
                  <a:lnTo>
                    <a:pt x="138" y="74"/>
                  </a:lnTo>
                  <a:lnTo>
                    <a:pt x="176" y="48"/>
                  </a:lnTo>
                  <a:lnTo>
                    <a:pt x="218" y="27"/>
                  </a:lnTo>
                  <a:lnTo>
                    <a:pt x="262" y="13"/>
                  </a:lnTo>
                  <a:lnTo>
                    <a:pt x="308" y="3"/>
                  </a:lnTo>
                  <a:lnTo>
                    <a:pt x="3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24">
              <a:extLst>
                <a:ext uri="{FF2B5EF4-FFF2-40B4-BE49-F238E27FC236}">
                  <a16:creationId xmlns:a16="http://schemas.microsoft.com/office/drawing/2014/main" id="{CAA8BF32-82A1-ADCE-D5AB-076B2A963037}"/>
                </a:ext>
              </a:extLst>
            </p:cNvPr>
            <p:cNvSpPr>
              <a:spLocks/>
            </p:cNvSpPr>
            <p:nvPr/>
          </p:nvSpPr>
          <p:spPr bwMode="auto">
            <a:xfrm>
              <a:off x="1758950" y="1343025"/>
              <a:ext cx="285750" cy="49213"/>
            </a:xfrm>
            <a:custGeom>
              <a:avLst/>
              <a:gdLst>
                <a:gd name="T0" fmla="*/ 90 w 1982"/>
                <a:gd name="T1" fmla="*/ 0 h 346"/>
                <a:gd name="T2" fmla="*/ 1893 w 1982"/>
                <a:gd name="T3" fmla="*/ 0 h 346"/>
                <a:gd name="T4" fmla="*/ 1916 w 1982"/>
                <a:gd name="T5" fmla="*/ 3 h 346"/>
                <a:gd name="T6" fmla="*/ 1938 w 1982"/>
                <a:gd name="T7" fmla="*/ 12 h 346"/>
                <a:gd name="T8" fmla="*/ 1955 w 1982"/>
                <a:gd name="T9" fmla="*/ 26 h 346"/>
                <a:gd name="T10" fmla="*/ 1969 w 1982"/>
                <a:gd name="T11" fmla="*/ 44 h 346"/>
                <a:gd name="T12" fmla="*/ 1978 w 1982"/>
                <a:gd name="T13" fmla="*/ 66 h 346"/>
                <a:gd name="T14" fmla="*/ 1982 w 1982"/>
                <a:gd name="T15" fmla="*/ 89 h 346"/>
                <a:gd name="T16" fmla="*/ 1982 w 1982"/>
                <a:gd name="T17" fmla="*/ 258 h 346"/>
                <a:gd name="T18" fmla="*/ 1978 w 1982"/>
                <a:gd name="T19" fmla="*/ 281 h 346"/>
                <a:gd name="T20" fmla="*/ 1969 w 1982"/>
                <a:gd name="T21" fmla="*/ 302 h 346"/>
                <a:gd name="T22" fmla="*/ 1955 w 1982"/>
                <a:gd name="T23" fmla="*/ 320 h 346"/>
                <a:gd name="T24" fmla="*/ 1938 w 1982"/>
                <a:gd name="T25" fmla="*/ 334 h 346"/>
                <a:gd name="T26" fmla="*/ 1916 w 1982"/>
                <a:gd name="T27" fmla="*/ 343 h 346"/>
                <a:gd name="T28" fmla="*/ 1893 w 1982"/>
                <a:gd name="T29" fmla="*/ 346 h 346"/>
                <a:gd name="T30" fmla="*/ 90 w 1982"/>
                <a:gd name="T31" fmla="*/ 346 h 346"/>
                <a:gd name="T32" fmla="*/ 66 w 1982"/>
                <a:gd name="T33" fmla="*/ 343 h 346"/>
                <a:gd name="T34" fmla="*/ 45 w 1982"/>
                <a:gd name="T35" fmla="*/ 334 h 346"/>
                <a:gd name="T36" fmla="*/ 26 w 1982"/>
                <a:gd name="T37" fmla="*/ 320 h 346"/>
                <a:gd name="T38" fmla="*/ 12 w 1982"/>
                <a:gd name="T39" fmla="*/ 302 h 346"/>
                <a:gd name="T40" fmla="*/ 3 w 1982"/>
                <a:gd name="T41" fmla="*/ 281 h 346"/>
                <a:gd name="T42" fmla="*/ 0 w 1982"/>
                <a:gd name="T43" fmla="*/ 258 h 346"/>
                <a:gd name="T44" fmla="*/ 0 w 1982"/>
                <a:gd name="T45" fmla="*/ 89 h 346"/>
                <a:gd name="T46" fmla="*/ 3 w 1982"/>
                <a:gd name="T47" fmla="*/ 66 h 346"/>
                <a:gd name="T48" fmla="*/ 12 w 1982"/>
                <a:gd name="T49" fmla="*/ 44 h 346"/>
                <a:gd name="T50" fmla="*/ 26 w 1982"/>
                <a:gd name="T51" fmla="*/ 26 h 346"/>
                <a:gd name="T52" fmla="*/ 45 w 1982"/>
                <a:gd name="T53" fmla="*/ 12 h 346"/>
                <a:gd name="T54" fmla="*/ 66 w 1982"/>
                <a:gd name="T55" fmla="*/ 3 h 346"/>
                <a:gd name="T56" fmla="*/ 90 w 1982"/>
                <a:gd name="T57"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2" h="346">
                  <a:moveTo>
                    <a:pt x="90" y="0"/>
                  </a:moveTo>
                  <a:lnTo>
                    <a:pt x="1893" y="0"/>
                  </a:lnTo>
                  <a:lnTo>
                    <a:pt x="1916" y="3"/>
                  </a:lnTo>
                  <a:lnTo>
                    <a:pt x="1938" y="12"/>
                  </a:lnTo>
                  <a:lnTo>
                    <a:pt x="1955" y="26"/>
                  </a:lnTo>
                  <a:lnTo>
                    <a:pt x="1969" y="44"/>
                  </a:lnTo>
                  <a:lnTo>
                    <a:pt x="1978" y="66"/>
                  </a:lnTo>
                  <a:lnTo>
                    <a:pt x="1982" y="89"/>
                  </a:lnTo>
                  <a:lnTo>
                    <a:pt x="1982" y="258"/>
                  </a:lnTo>
                  <a:lnTo>
                    <a:pt x="1978" y="281"/>
                  </a:lnTo>
                  <a:lnTo>
                    <a:pt x="1969" y="302"/>
                  </a:lnTo>
                  <a:lnTo>
                    <a:pt x="1955" y="320"/>
                  </a:lnTo>
                  <a:lnTo>
                    <a:pt x="1938" y="334"/>
                  </a:lnTo>
                  <a:lnTo>
                    <a:pt x="1916" y="343"/>
                  </a:lnTo>
                  <a:lnTo>
                    <a:pt x="1893" y="346"/>
                  </a:lnTo>
                  <a:lnTo>
                    <a:pt x="90" y="346"/>
                  </a:lnTo>
                  <a:lnTo>
                    <a:pt x="66" y="343"/>
                  </a:lnTo>
                  <a:lnTo>
                    <a:pt x="45" y="334"/>
                  </a:lnTo>
                  <a:lnTo>
                    <a:pt x="26" y="320"/>
                  </a:lnTo>
                  <a:lnTo>
                    <a:pt x="12" y="302"/>
                  </a:lnTo>
                  <a:lnTo>
                    <a:pt x="3" y="281"/>
                  </a:lnTo>
                  <a:lnTo>
                    <a:pt x="0" y="258"/>
                  </a:lnTo>
                  <a:lnTo>
                    <a:pt x="0" y="89"/>
                  </a:lnTo>
                  <a:lnTo>
                    <a:pt x="3" y="66"/>
                  </a:lnTo>
                  <a:lnTo>
                    <a:pt x="12" y="44"/>
                  </a:lnTo>
                  <a:lnTo>
                    <a:pt x="26" y="26"/>
                  </a:lnTo>
                  <a:lnTo>
                    <a:pt x="45" y="12"/>
                  </a:lnTo>
                  <a:lnTo>
                    <a:pt x="66" y="3"/>
                  </a:lnTo>
                  <a:lnTo>
                    <a:pt x="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25">
              <a:extLst>
                <a:ext uri="{FF2B5EF4-FFF2-40B4-BE49-F238E27FC236}">
                  <a16:creationId xmlns:a16="http://schemas.microsoft.com/office/drawing/2014/main" id="{A360B121-293D-E73F-4BCC-39E6F63E629E}"/>
                </a:ext>
              </a:extLst>
            </p:cNvPr>
            <p:cNvSpPr>
              <a:spLocks/>
            </p:cNvSpPr>
            <p:nvPr/>
          </p:nvSpPr>
          <p:spPr bwMode="auto">
            <a:xfrm>
              <a:off x="1801813" y="1412875"/>
              <a:ext cx="200025" cy="171450"/>
            </a:xfrm>
            <a:custGeom>
              <a:avLst/>
              <a:gdLst>
                <a:gd name="T0" fmla="*/ 110 w 1377"/>
                <a:gd name="T1" fmla="*/ 0 h 1183"/>
                <a:gd name="T2" fmla="*/ 1266 w 1377"/>
                <a:gd name="T3" fmla="*/ 0 h 1183"/>
                <a:gd name="T4" fmla="*/ 1291 w 1377"/>
                <a:gd name="T5" fmla="*/ 3 h 1183"/>
                <a:gd name="T6" fmla="*/ 1314 w 1377"/>
                <a:gd name="T7" fmla="*/ 12 h 1183"/>
                <a:gd name="T8" fmla="*/ 1335 w 1377"/>
                <a:gd name="T9" fmla="*/ 24 h 1183"/>
                <a:gd name="T10" fmla="*/ 1351 w 1377"/>
                <a:gd name="T11" fmla="*/ 42 h 1183"/>
                <a:gd name="T12" fmla="*/ 1365 w 1377"/>
                <a:gd name="T13" fmla="*/ 62 h 1183"/>
                <a:gd name="T14" fmla="*/ 1373 w 1377"/>
                <a:gd name="T15" fmla="*/ 86 h 1183"/>
                <a:gd name="T16" fmla="*/ 1377 w 1377"/>
                <a:gd name="T17" fmla="*/ 111 h 1183"/>
                <a:gd name="T18" fmla="*/ 1377 w 1377"/>
                <a:gd name="T19" fmla="*/ 1083 h 1183"/>
                <a:gd name="T20" fmla="*/ 1373 w 1377"/>
                <a:gd name="T21" fmla="*/ 1106 h 1183"/>
                <a:gd name="T22" fmla="*/ 1366 w 1377"/>
                <a:gd name="T23" fmla="*/ 1127 h 1183"/>
                <a:gd name="T24" fmla="*/ 1354 w 1377"/>
                <a:gd name="T25" fmla="*/ 1146 h 1183"/>
                <a:gd name="T26" fmla="*/ 1338 w 1377"/>
                <a:gd name="T27" fmla="*/ 1161 h 1183"/>
                <a:gd name="T28" fmla="*/ 1319 w 1377"/>
                <a:gd name="T29" fmla="*/ 1173 h 1183"/>
                <a:gd name="T30" fmla="*/ 1298 w 1377"/>
                <a:gd name="T31" fmla="*/ 1181 h 1183"/>
                <a:gd name="T32" fmla="*/ 1275 w 1377"/>
                <a:gd name="T33" fmla="*/ 1183 h 1183"/>
                <a:gd name="T34" fmla="*/ 100 w 1377"/>
                <a:gd name="T35" fmla="*/ 1183 h 1183"/>
                <a:gd name="T36" fmla="*/ 77 w 1377"/>
                <a:gd name="T37" fmla="*/ 1181 h 1183"/>
                <a:gd name="T38" fmla="*/ 56 w 1377"/>
                <a:gd name="T39" fmla="*/ 1173 h 1183"/>
                <a:gd name="T40" fmla="*/ 38 w 1377"/>
                <a:gd name="T41" fmla="*/ 1161 h 1183"/>
                <a:gd name="T42" fmla="*/ 22 w 1377"/>
                <a:gd name="T43" fmla="*/ 1146 h 1183"/>
                <a:gd name="T44" fmla="*/ 10 w 1377"/>
                <a:gd name="T45" fmla="*/ 1127 h 1183"/>
                <a:gd name="T46" fmla="*/ 2 w 1377"/>
                <a:gd name="T47" fmla="*/ 1106 h 1183"/>
                <a:gd name="T48" fmla="*/ 0 w 1377"/>
                <a:gd name="T49" fmla="*/ 1083 h 1183"/>
                <a:gd name="T50" fmla="*/ 0 w 1377"/>
                <a:gd name="T51" fmla="*/ 111 h 1183"/>
                <a:gd name="T52" fmla="*/ 3 w 1377"/>
                <a:gd name="T53" fmla="*/ 86 h 1183"/>
                <a:gd name="T54" fmla="*/ 10 w 1377"/>
                <a:gd name="T55" fmla="*/ 62 h 1183"/>
                <a:gd name="T56" fmla="*/ 24 w 1377"/>
                <a:gd name="T57" fmla="*/ 42 h 1183"/>
                <a:gd name="T58" fmla="*/ 41 w 1377"/>
                <a:gd name="T59" fmla="*/ 24 h 1183"/>
                <a:gd name="T60" fmla="*/ 62 w 1377"/>
                <a:gd name="T61" fmla="*/ 12 h 1183"/>
                <a:gd name="T62" fmla="*/ 85 w 1377"/>
                <a:gd name="T63" fmla="*/ 3 h 1183"/>
                <a:gd name="T64" fmla="*/ 110 w 1377"/>
                <a:gd name="T65"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77" h="1183">
                  <a:moveTo>
                    <a:pt x="110" y="0"/>
                  </a:moveTo>
                  <a:lnTo>
                    <a:pt x="1266" y="0"/>
                  </a:lnTo>
                  <a:lnTo>
                    <a:pt x="1291" y="3"/>
                  </a:lnTo>
                  <a:lnTo>
                    <a:pt x="1314" y="12"/>
                  </a:lnTo>
                  <a:lnTo>
                    <a:pt x="1335" y="24"/>
                  </a:lnTo>
                  <a:lnTo>
                    <a:pt x="1351" y="42"/>
                  </a:lnTo>
                  <a:lnTo>
                    <a:pt x="1365" y="62"/>
                  </a:lnTo>
                  <a:lnTo>
                    <a:pt x="1373" y="86"/>
                  </a:lnTo>
                  <a:lnTo>
                    <a:pt x="1377" y="111"/>
                  </a:lnTo>
                  <a:lnTo>
                    <a:pt x="1377" y="1083"/>
                  </a:lnTo>
                  <a:lnTo>
                    <a:pt x="1373" y="1106"/>
                  </a:lnTo>
                  <a:lnTo>
                    <a:pt x="1366" y="1127"/>
                  </a:lnTo>
                  <a:lnTo>
                    <a:pt x="1354" y="1146"/>
                  </a:lnTo>
                  <a:lnTo>
                    <a:pt x="1338" y="1161"/>
                  </a:lnTo>
                  <a:lnTo>
                    <a:pt x="1319" y="1173"/>
                  </a:lnTo>
                  <a:lnTo>
                    <a:pt x="1298" y="1181"/>
                  </a:lnTo>
                  <a:lnTo>
                    <a:pt x="1275" y="1183"/>
                  </a:lnTo>
                  <a:lnTo>
                    <a:pt x="100" y="1183"/>
                  </a:lnTo>
                  <a:lnTo>
                    <a:pt x="77" y="1181"/>
                  </a:lnTo>
                  <a:lnTo>
                    <a:pt x="56" y="1173"/>
                  </a:lnTo>
                  <a:lnTo>
                    <a:pt x="38" y="1161"/>
                  </a:lnTo>
                  <a:lnTo>
                    <a:pt x="22" y="1146"/>
                  </a:lnTo>
                  <a:lnTo>
                    <a:pt x="10" y="1127"/>
                  </a:lnTo>
                  <a:lnTo>
                    <a:pt x="2" y="1106"/>
                  </a:lnTo>
                  <a:lnTo>
                    <a:pt x="0" y="1083"/>
                  </a:lnTo>
                  <a:lnTo>
                    <a:pt x="0" y="111"/>
                  </a:lnTo>
                  <a:lnTo>
                    <a:pt x="3" y="86"/>
                  </a:lnTo>
                  <a:lnTo>
                    <a:pt x="10" y="62"/>
                  </a:lnTo>
                  <a:lnTo>
                    <a:pt x="24" y="42"/>
                  </a:lnTo>
                  <a:lnTo>
                    <a:pt x="41" y="24"/>
                  </a:lnTo>
                  <a:lnTo>
                    <a:pt x="62" y="12"/>
                  </a:lnTo>
                  <a:lnTo>
                    <a:pt x="85" y="3"/>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26">
              <a:extLst>
                <a:ext uri="{FF2B5EF4-FFF2-40B4-BE49-F238E27FC236}">
                  <a16:creationId xmlns:a16="http://schemas.microsoft.com/office/drawing/2014/main" id="{C06112F6-27A1-1673-D6C5-05CD60DBEAAE}"/>
                </a:ext>
              </a:extLst>
            </p:cNvPr>
            <p:cNvSpPr>
              <a:spLocks/>
            </p:cNvSpPr>
            <p:nvPr/>
          </p:nvSpPr>
          <p:spPr bwMode="auto">
            <a:xfrm>
              <a:off x="1801813" y="1212850"/>
              <a:ext cx="200025" cy="109538"/>
            </a:xfrm>
            <a:custGeom>
              <a:avLst/>
              <a:gdLst>
                <a:gd name="T0" fmla="*/ 414 w 1387"/>
                <a:gd name="T1" fmla="*/ 0 h 760"/>
                <a:gd name="T2" fmla="*/ 426 w 1387"/>
                <a:gd name="T3" fmla="*/ 4 h 760"/>
                <a:gd name="T4" fmla="*/ 437 w 1387"/>
                <a:gd name="T5" fmla="*/ 10 h 760"/>
                <a:gd name="T6" fmla="*/ 443 w 1387"/>
                <a:gd name="T7" fmla="*/ 21 h 760"/>
                <a:gd name="T8" fmla="*/ 657 w 1387"/>
                <a:gd name="T9" fmla="*/ 607 h 760"/>
                <a:gd name="T10" fmla="*/ 662 w 1387"/>
                <a:gd name="T11" fmla="*/ 617 h 760"/>
                <a:gd name="T12" fmla="*/ 672 w 1387"/>
                <a:gd name="T13" fmla="*/ 625 h 760"/>
                <a:gd name="T14" fmla="*/ 682 w 1387"/>
                <a:gd name="T15" fmla="*/ 630 h 760"/>
                <a:gd name="T16" fmla="*/ 693 w 1387"/>
                <a:gd name="T17" fmla="*/ 632 h 760"/>
                <a:gd name="T18" fmla="*/ 704 w 1387"/>
                <a:gd name="T19" fmla="*/ 630 h 760"/>
                <a:gd name="T20" fmla="*/ 715 w 1387"/>
                <a:gd name="T21" fmla="*/ 625 h 760"/>
                <a:gd name="T22" fmla="*/ 723 w 1387"/>
                <a:gd name="T23" fmla="*/ 617 h 760"/>
                <a:gd name="T24" fmla="*/ 729 w 1387"/>
                <a:gd name="T25" fmla="*/ 607 h 760"/>
                <a:gd name="T26" fmla="*/ 943 w 1387"/>
                <a:gd name="T27" fmla="*/ 21 h 760"/>
                <a:gd name="T28" fmla="*/ 949 w 1387"/>
                <a:gd name="T29" fmla="*/ 11 h 760"/>
                <a:gd name="T30" fmla="*/ 958 w 1387"/>
                <a:gd name="T31" fmla="*/ 4 h 760"/>
                <a:gd name="T32" fmla="*/ 970 w 1387"/>
                <a:gd name="T33" fmla="*/ 0 h 760"/>
                <a:gd name="T34" fmla="*/ 981 w 1387"/>
                <a:gd name="T35" fmla="*/ 3 h 760"/>
                <a:gd name="T36" fmla="*/ 1170 w 1387"/>
                <a:gd name="T37" fmla="*/ 33 h 760"/>
                <a:gd name="T38" fmla="*/ 1170 w 1387"/>
                <a:gd name="T39" fmla="*/ 34 h 760"/>
                <a:gd name="T40" fmla="*/ 1208 w 1387"/>
                <a:gd name="T41" fmla="*/ 48 h 760"/>
                <a:gd name="T42" fmla="*/ 1242 w 1387"/>
                <a:gd name="T43" fmla="*/ 67 h 760"/>
                <a:gd name="T44" fmla="*/ 1274 w 1387"/>
                <a:gd name="T45" fmla="*/ 90 h 760"/>
                <a:gd name="T46" fmla="*/ 1302 w 1387"/>
                <a:gd name="T47" fmla="*/ 117 h 760"/>
                <a:gd name="T48" fmla="*/ 1327 w 1387"/>
                <a:gd name="T49" fmla="*/ 147 h 760"/>
                <a:gd name="T50" fmla="*/ 1347 w 1387"/>
                <a:gd name="T51" fmla="*/ 180 h 760"/>
                <a:gd name="T52" fmla="*/ 1364 w 1387"/>
                <a:gd name="T53" fmla="*/ 214 h 760"/>
                <a:gd name="T54" fmla="*/ 1376 w 1387"/>
                <a:gd name="T55" fmla="*/ 252 h 760"/>
                <a:gd name="T56" fmla="*/ 1384 w 1387"/>
                <a:gd name="T57" fmla="*/ 291 h 760"/>
                <a:gd name="T58" fmla="*/ 1387 w 1387"/>
                <a:gd name="T59" fmla="*/ 330 h 760"/>
                <a:gd name="T60" fmla="*/ 1387 w 1387"/>
                <a:gd name="T61" fmla="*/ 760 h 760"/>
                <a:gd name="T62" fmla="*/ 0 w 1387"/>
                <a:gd name="T63" fmla="*/ 760 h 760"/>
                <a:gd name="T64" fmla="*/ 0 w 1387"/>
                <a:gd name="T65" fmla="*/ 332 h 760"/>
                <a:gd name="T66" fmla="*/ 2 w 1387"/>
                <a:gd name="T67" fmla="*/ 292 h 760"/>
                <a:gd name="T68" fmla="*/ 9 w 1387"/>
                <a:gd name="T69" fmla="*/ 253 h 760"/>
                <a:gd name="T70" fmla="*/ 22 w 1387"/>
                <a:gd name="T71" fmla="*/ 215 h 760"/>
                <a:gd name="T72" fmla="*/ 38 w 1387"/>
                <a:gd name="T73" fmla="*/ 181 h 760"/>
                <a:gd name="T74" fmla="*/ 59 w 1387"/>
                <a:gd name="T75" fmla="*/ 148 h 760"/>
                <a:gd name="T76" fmla="*/ 83 w 1387"/>
                <a:gd name="T77" fmla="*/ 118 h 760"/>
                <a:gd name="T78" fmla="*/ 112 w 1387"/>
                <a:gd name="T79" fmla="*/ 91 h 760"/>
                <a:gd name="T80" fmla="*/ 144 w 1387"/>
                <a:gd name="T81" fmla="*/ 68 h 760"/>
                <a:gd name="T82" fmla="*/ 179 w 1387"/>
                <a:gd name="T83" fmla="*/ 48 h 760"/>
                <a:gd name="T84" fmla="*/ 216 w 1387"/>
                <a:gd name="T85" fmla="*/ 33 h 760"/>
                <a:gd name="T86" fmla="*/ 219 w 1387"/>
                <a:gd name="T87" fmla="*/ 33 h 760"/>
                <a:gd name="T88" fmla="*/ 229 w 1387"/>
                <a:gd name="T89" fmla="*/ 31 h 760"/>
                <a:gd name="T90" fmla="*/ 242 w 1387"/>
                <a:gd name="T91" fmla="*/ 29 h 760"/>
                <a:gd name="T92" fmla="*/ 260 w 1387"/>
                <a:gd name="T93" fmla="*/ 26 h 760"/>
                <a:gd name="T94" fmla="*/ 280 w 1387"/>
                <a:gd name="T95" fmla="*/ 22 h 760"/>
                <a:gd name="T96" fmla="*/ 303 w 1387"/>
                <a:gd name="T97" fmla="*/ 19 h 760"/>
                <a:gd name="T98" fmla="*/ 325 w 1387"/>
                <a:gd name="T99" fmla="*/ 15 h 760"/>
                <a:gd name="T100" fmla="*/ 347 w 1387"/>
                <a:gd name="T101" fmla="*/ 11 h 760"/>
                <a:gd name="T102" fmla="*/ 368 w 1387"/>
                <a:gd name="T103" fmla="*/ 8 h 760"/>
                <a:gd name="T104" fmla="*/ 385 w 1387"/>
                <a:gd name="T105" fmla="*/ 5 h 760"/>
                <a:gd name="T106" fmla="*/ 400 w 1387"/>
                <a:gd name="T107" fmla="*/ 3 h 760"/>
                <a:gd name="T108" fmla="*/ 410 w 1387"/>
                <a:gd name="T109" fmla="*/ 2 h 760"/>
                <a:gd name="T110" fmla="*/ 414 w 1387"/>
                <a:gd name="T111"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7" h="760">
                  <a:moveTo>
                    <a:pt x="414" y="0"/>
                  </a:moveTo>
                  <a:lnTo>
                    <a:pt x="426" y="4"/>
                  </a:lnTo>
                  <a:lnTo>
                    <a:pt x="437" y="10"/>
                  </a:lnTo>
                  <a:lnTo>
                    <a:pt x="443" y="21"/>
                  </a:lnTo>
                  <a:lnTo>
                    <a:pt x="657" y="607"/>
                  </a:lnTo>
                  <a:lnTo>
                    <a:pt x="662" y="617"/>
                  </a:lnTo>
                  <a:lnTo>
                    <a:pt x="672" y="625"/>
                  </a:lnTo>
                  <a:lnTo>
                    <a:pt x="682" y="630"/>
                  </a:lnTo>
                  <a:lnTo>
                    <a:pt x="693" y="632"/>
                  </a:lnTo>
                  <a:lnTo>
                    <a:pt x="704" y="630"/>
                  </a:lnTo>
                  <a:lnTo>
                    <a:pt x="715" y="625"/>
                  </a:lnTo>
                  <a:lnTo>
                    <a:pt x="723" y="617"/>
                  </a:lnTo>
                  <a:lnTo>
                    <a:pt x="729" y="607"/>
                  </a:lnTo>
                  <a:lnTo>
                    <a:pt x="943" y="21"/>
                  </a:lnTo>
                  <a:lnTo>
                    <a:pt x="949" y="11"/>
                  </a:lnTo>
                  <a:lnTo>
                    <a:pt x="958" y="4"/>
                  </a:lnTo>
                  <a:lnTo>
                    <a:pt x="970" y="0"/>
                  </a:lnTo>
                  <a:lnTo>
                    <a:pt x="981" y="3"/>
                  </a:lnTo>
                  <a:lnTo>
                    <a:pt x="1170" y="33"/>
                  </a:lnTo>
                  <a:lnTo>
                    <a:pt x="1170" y="34"/>
                  </a:lnTo>
                  <a:lnTo>
                    <a:pt x="1208" y="48"/>
                  </a:lnTo>
                  <a:lnTo>
                    <a:pt x="1242" y="67"/>
                  </a:lnTo>
                  <a:lnTo>
                    <a:pt x="1274" y="90"/>
                  </a:lnTo>
                  <a:lnTo>
                    <a:pt x="1302" y="117"/>
                  </a:lnTo>
                  <a:lnTo>
                    <a:pt x="1327" y="147"/>
                  </a:lnTo>
                  <a:lnTo>
                    <a:pt x="1347" y="180"/>
                  </a:lnTo>
                  <a:lnTo>
                    <a:pt x="1364" y="214"/>
                  </a:lnTo>
                  <a:lnTo>
                    <a:pt x="1376" y="252"/>
                  </a:lnTo>
                  <a:lnTo>
                    <a:pt x="1384" y="291"/>
                  </a:lnTo>
                  <a:lnTo>
                    <a:pt x="1387" y="330"/>
                  </a:lnTo>
                  <a:lnTo>
                    <a:pt x="1387" y="760"/>
                  </a:lnTo>
                  <a:lnTo>
                    <a:pt x="0" y="760"/>
                  </a:lnTo>
                  <a:lnTo>
                    <a:pt x="0" y="332"/>
                  </a:lnTo>
                  <a:lnTo>
                    <a:pt x="2" y="292"/>
                  </a:lnTo>
                  <a:lnTo>
                    <a:pt x="9" y="253"/>
                  </a:lnTo>
                  <a:lnTo>
                    <a:pt x="22" y="215"/>
                  </a:lnTo>
                  <a:lnTo>
                    <a:pt x="38" y="181"/>
                  </a:lnTo>
                  <a:lnTo>
                    <a:pt x="59" y="148"/>
                  </a:lnTo>
                  <a:lnTo>
                    <a:pt x="83" y="118"/>
                  </a:lnTo>
                  <a:lnTo>
                    <a:pt x="112" y="91"/>
                  </a:lnTo>
                  <a:lnTo>
                    <a:pt x="144" y="68"/>
                  </a:lnTo>
                  <a:lnTo>
                    <a:pt x="179" y="48"/>
                  </a:lnTo>
                  <a:lnTo>
                    <a:pt x="216" y="33"/>
                  </a:lnTo>
                  <a:lnTo>
                    <a:pt x="219" y="33"/>
                  </a:lnTo>
                  <a:lnTo>
                    <a:pt x="229" y="31"/>
                  </a:lnTo>
                  <a:lnTo>
                    <a:pt x="242" y="29"/>
                  </a:lnTo>
                  <a:lnTo>
                    <a:pt x="260" y="26"/>
                  </a:lnTo>
                  <a:lnTo>
                    <a:pt x="280" y="22"/>
                  </a:lnTo>
                  <a:lnTo>
                    <a:pt x="303" y="19"/>
                  </a:lnTo>
                  <a:lnTo>
                    <a:pt x="325" y="15"/>
                  </a:lnTo>
                  <a:lnTo>
                    <a:pt x="347" y="11"/>
                  </a:lnTo>
                  <a:lnTo>
                    <a:pt x="368" y="8"/>
                  </a:lnTo>
                  <a:lnTo>
                    <a:pt x="385" y="5"/>
                  </a:lnTo>
                  <a:lnTo>
                    <a:pt x="400" y="3"/>
                  </a:lnTo>
                  <a:lnTo>
                    <a:pt x="410" y="2"/>
                  </a:lnTo>
                  <a:lnTo>
                    <a:pt x="4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27">
              <a:extLst>
                <a:ext uri="{FF2B5EF4-FFF2-40B4-BE49-F238E27FC236}">
                  <a16:creationId xmlns:a16="http://schemas.microsoft.com/office/drawing/2014/main" id="{F2FC5ECB-DCBF-A672-27B3-956072186458}"/>
                </a:ext>
              </a:extLst>
            </p:cNvPr>
            <p:cNvSpPr>
              <a:spLocks/>
            </p:cNvSpPr>
            <p:nvPr/>
          </p:nvSpPr>
          <p:spPr bwMode="auto">
            <a:xfrm>
              <a:off x="1889125" y="1209675"/>
              <a:ext cx="25400" cy="68263"/>
            </a:xfrm>
            <a:custGeom>
              <a:avLst/>
              <a:gdLst>
                <a:gd name="T0" fmla="*/ 46 w 186"/>
                <a:gd name="T1" fmla="*/ 0 h 475"/>
                <a:gd name="T2" fmla="*/ 141 w 186"/>
                <a:gd name="T3" fmla="*/ 0 h 475"/>
                <a:gd name="T4" fmla="*/ 153 w 186"/>
                <a:gd name="T5" fmla="*/ 1 h 475"/>
                <a:gd name="T6" fmla="*/ 165 w 186"/>
                <a:gd name="T7" fmla="*/ 6 h 475"/>
                <a:gd name="T8" fmla="*/ 174 w 186"/>
                <a:gd name="T9" fmla="*/ 13 h 475"/>
                <a:gd name="T10" fmla="*/ 183 w 186"/>
                <a:gd name="T11" fmla="*/ 25 h 475"/>
                <a:gd name="T12" fmla="*/ 186 w 186"/>
                <a:gd name="T13" fmla="*/ 38 h 475"/>
                <a:gd name="T14" fmla="*/ 186 w 186"/>
                <a:gd name="T15" fmla="*/ 52 h 475"/>
                <a:gd name="T16" fmla="*/ 181 w 186"/>
                <a:gd name="T17" fmla="*/ 65 h 475"/>
                <a:gd name="T18" fmla="*/ 129 w 186"/>
                <a:gd name="T19" fmla="*/ 142 h 475"/>
                <a:gd name="T20" fmla="*/ 153 w 186"/>
                <a:gd name="T21" fmla="*/ 342 h 475"/>
                <a:gd name="T22" fmla="*/ 106 w 186"/>
                <a:gd name="T23" fmla="*/ 467 h 475"/>
                <a:gd name="T24" fmla="*/ 102 w 186"/>
                <a:gd name="T25" fmla="*/ 473 h 475"/>
                <a:gd name="T26" fmla="*/ 96 w 186"/>
                <a:gd name="T27" fmla="*/ 475 h 475"/>
                <a:gd name="T28" fmla="*/ 90 w 186"/>
                <a:gd name="T29" fmla="*/ 475 h 475"/>
                <a:gd name="T30" fmla="*/ 83 w 186"/>
                <a:gd name="T31" fmla="*/ 473 h 475"/>
                <a:gd name="T32" fmla="*/ 79 w 186"/>
                <a:gd name="T33" fmla="*/ 467 h 475"/>
                <a:gd name="T34" fmla="*/ 32 w 186"/>
                <a:gd name="T35" fmla="*/ 342 h 475"/>
                <a:gd name="T36" fmla="*/ 56 w 186"/>
                <a:gd name="T37" fmla="*/ 142 h 475"/>
                <a:gd name="T38" fmla="*/ 6 w 186"/>
                <a:gd name="T39" fmla="*/ 65 h 475"/>
                <a:gd name="T40" fmla="*/ 1 w 186"/>
                <a:gd name="T41" fmla="*/ 52 h 475"/>
                <a:gd name="T42" fmla="*/ 0 w 186"/>
                <a:gd name="T43" fmla="*/ 38 h 475"/>
                <a:gd name="T44" fmla="*/ 4 w 186"/>
                <a:gd name="T45" fmla="*/ 25 h 475"/>
                <a:gd name="T46" fmla="*/ 11 w 186"/>
                <a:gd name="T47" fmla="*/ 13 h 475"/>
                <a:gd name="T48" fmla="*/ 21 w 186"/>
                <a:gd name="T49" fmla="*/ 6 h 475"/>
                <a:gd name="T50" fmla="*/ 33 w 186"/>
                <a:gd name="T51" fmla="*/ 1 h 475"/>
                <a:gd name="T52" fmla="*/ 46 w 186"/>
                <a:gd name="T53"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475">
                  <a:moveTo>
                    <a:pt x="46" y="0"/>
                  </a:moveTo>
                  <a:lnTo>
                    <a:pt x="141" y="0"/>
                  </a:lnTo>
                  <a:lnTo>
                    <a:pt x="153" y="1"/>
                  </a:lnTo>
                  <a:lnTo>
                    <a:pt x="165" y="6"/>
                  </a:lnTo>
                  <a:lnTo>
                    <a:pt x="174" y="13"/>
                  </a:lnTo>
                  <a:lnTo>
                    <a:pt x="183" y="25"/>
                  </a:lnTo>
                  <a:lnTo>
                    <a:pt x="186" y="38"/>
                  </a:lnTo>
                  <a:lnTo>
                    <a:pt x="186" y="52"/>
                  </a:lnTo>
                  <a:lnTo>
                    <a:pt x="181" y="65"/>
                  </a:lnTo>
                  <a:lnTo>
                    <a:pt x="129" y="142"/>
                  </a:lnTo>
                  <a:lnTo>
                    <a:pt x="153" y="342"/>
                  </a:lnTo>
                  <a:lnTo>
                    <a:pt x="106" y="467"/>
                  </a:lnTo>
                  <a:lnTo>
                    <a:pt x="102" y="473"/>
                  </a:lnTo>
                  <a:lnTo>
                    <a:pt x="96" y="475"/>
                  </a:lnTo>
                  <a:lnTo>
                    <a:pt x="90" y="475"/>
                  </a:lnTo>
                  <a:lnTo>
                    <a:pt x="83" y="473"/>
                  </a:lnTo>
                  <a:lnTo>
                    <a:pt x="79" y="467"/>
                  </a:lnTo>
                  <a:lnTo>
                    <a:pt x="32" y="342"/>
                  </a:lnTo>
                  <a:lnTo>
                    <a:pt x="56" y="142"/>
                  </a:lnTo>
                  <a:lnTo>
                    <a:pt x="6" y="65"/>
                  </a:lnTo>
                  <a:lnTo>
                    <a:pt x="1" y="52"/>
                  </a:lnTo>
                  <a:lnTo>
                    <a:pt x="0" y="38"/>
                  </a:lnTo>
                  <a:lnTo>
                    <a:pt x="4" y="25"/>
                  </a:lnTo>
                  <a:lnTo>
                    <a:pt x="11" y="13"/>
                  </a:lnTo>
                  <a:lnTo>
                    <a:pt x="21" y="6"/>
                  </a:lnTo>
                  <a:lnTo>
                    <a:pt x="33" y="1"/>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TextBox 17">
            <a:extLst>
              <a:ext uri="{FF2B5EF4-FFF2-40B4-BE49-F238E27FC236}">
                <a16:creationId xmlns:a16="http://schemas.microsoft.com/office/drawing/2014/main" id="{D0A25D3F-F81B-0F6C-B796-CB8F16D552AF}"/>
              </a:ext>
            </a:extLst>
          </p:cNvPr>
          <p:cNvSpPr txBox="1"/>
          <p:nvPr/>
        </p:nvSpPr>
        <p:spPr>
          <a:xfrm>
            <a:off x="2296241" y="643890"/>
            <a:ext cx="680952" cy="1764586"/>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algn="l"/>
            <a:r>
              <a:rPr lang="en-US" sz="8000" b="1">
                <a:solidFill>
                  <a:schemeClr val="accent1">
                    <a:lumMod val="60000"/>
                    <a:lumOff val="40000"/>
                  </a:schemeClr>
                </a:solidFill>
                <a:latin typeface="Poppins" panose="00000500000000000000" pitchFamily="2" charset="0"/>
              </a:rPr>
              <a:t>?</a:t>
            </a:r>
          </a:p>
        </p:txBody>
      </p:sp>
      <p:sp>
        <p:nvSpPr>
          <p:cNvPr id="19" name="Oval 18">
            <a:extLst>
              <a:ext uri="{FF2B5EF4-FFF2-40B4-BE49-F238E27FC236}">
                <a16:creationId xmlns:a16="http://schemas.microsoft.com/office/drawing/2014/main" id="{64484208-1B90-A2FF-EDDC-5B59233463BF}"/>
              </a:ext>
            </a:extLst>
          </p:cNvPr>
          <p:cNvSpPr/>
          <p:nvPr/>
        </p:nvSpPr>
        <p:spPr>
          <a:xfrm>
            <a:off x="2009032" y="1085893"/>
            <a:ext cx="1221179" cy="1221179"/>
          </a:xfrm>
          <a:prstGeom prst="ellipse">
            <a:avLst/>
          </a:prstGeom>
          <a:no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00762223-6058-AD29-BCED-54C97EE14C54}"/>
              </a:ext>
            </a:extLst>
          </p:cNvPr>
          <p:cNvSpPr txBox="1"/>
          <p:nvPr/>
        </p:nvSpPr>
        <p:spPr>
          <a:xfrm>
            <a:off x="10008067" y="315767"/>
            <a:ext cx="1466500" cy="246221"/>
          </a:xfrm>
          <a:prstGeom prst="rect">
            <a:avLst/>
          </a:prstGeom>
          <a:noFill/>
        </p:spPr>
        <p:txBody>
          <a:bodyPr wrap="square" rtlCol="0">
            <a:spAutoFit/>
          </a:bodyPr>
          <a:lstStyle/>
          <a:p>
            <a:pPr algn="r"/>
            <a:r>
              <a:rPr lang="en-GB" sz="1000" b="1">
                <a:solidFill>
                  <a:schemeClr val="bg1"/>
                </a:solidFill>
                <a:latin typeface="Montserrat" panose="00000500000000000000" pitchFamily="2" charset="0"/>
              </a:rPr>
              <a:t>MSECB Webinar</a:t>
            </a:r>
            <a:endParaRPr lang="en-ID" sz="1000" b="1">
              <a:solidFill>
                <a:schemeClr val="bg1"/>
              </a:solidFill>
              <a:latin typeface="Montserrat" panose="00000500000000000000" pitchFamily="2" charset="0"/>
            </a:endParaRPr>
          </a:p>
        </p:txBody>
      </p:sp>
      <p:sp>
        <p:nvSpPr>
          <p:cNvPr id="22" name="Circle: Hollow 21">
            <a:extLst>
              <a:ext uri="{FF2B5EF4-FFF2-40B4-BE49-F238E27FC236}">
                <a16:creationId xmlns:a16="http://schemas.microsoft.com/office/drawing/2014/main" id="{95980465-88D8-4A07-C09D-3B1E95E0B325}"/>
              </a:ext>
            </a:extLst>
          </p:cNvPr>
          <p:cNvSpPr/>
          <p:nvPr/>
        </p:nvSpPr>
        <p:spPr>
          <a:xfrm>
            <a:off x="10091933" y="369197"/>
            <a:ext cx="130628" cy="130628"/>
          </a:xfrm>
          <a:prstGeom prst="donut">
            <a:avLst>
              <a:gd name="adj" fmla="val 219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spTree>
    <p:extLst>
      <p:ext uri="{BB962C8B-B14F-4D97-AF65-F5344CB8AC3E}">
        <p14:creationId xmlns:p14="http://schemas.microsoft.com/office/powerpoint/2010/main" val="95002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200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anim calcmode="lin" valueType="num">
                                      <p:cBhvr>
                                        <p:cTn id="16" dur="1000" fill="hold"/>
                                        <p:tgtEl>
                                          <p:spTgt spid="18"/>
                                        </p:tgtEl>
                                        <p:attrNameLst>
                                          <p:attrName>ppt_x</p:attrName>
                                        </p:attrNameLst>
                                      </p:cBhvr>
                                      <p:tavLst>
                                        <p:tav tm="0">
                                          <p:val>
                                            <p:strVal val="#ppt_x"/>
                                          </p:val>
                                        </p:tav>
                                        <p:tav tm="100000">
                                          <p:val>
                                            <p:strVal val="#ppt_x"/>
                                          </p:val>
                                        </p:tav>
                                      </p:tavLst>
                                    </p:anim>
                                    <p:anim calcmode="lin" valueType="num">
                                      <p:cBhvr>
                                        <p:cTn id="17"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P spid="1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559A69-F753-8F80-EDD6-7D7E41E9F193}"/>
              </a:ext>
            </a:extLst>
          </p:cNvPr>
          <p:cNvSpPr/>
          <p:nvPr/>
        </p:nvSpPr>
        <p:spPr>
          <a:xfrm>
            <a:off x="0" y="0"/>
            <a:ext cx="12192000"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1756229" y="985916"/>
            <a:ext cx="93989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ontserrat"/>
                <a:ea typeface="+mn-ea"/>
                <a:cs typeface="+mn-cs"/>
              </a:rPr>
              <a:t>What challenges does</a:t>
            </a:r>
            <a:r>
              <a:rPr kumimoji="0" lang="en-US" sz="2800" b="1" i="0" u="none" strike="noStrike" kern="1200" cap="none" spc="0" normalizeH="0" noProof="0">
                <a:ln>
                  <a:noFill/>
                </a:ln>
                <a:solidFill>
                  <a:schemeClr val="bg1"/>
                </a:solidFill>
                <a:effectLst/>
                <a:uLnTx/>
                <a:uFillTx/>
                <a:latin typeface="Montserrat"/>
                <a:ea typeface="+mn-ea"/>
                <a:cs typeface="+mn-cs"/>
              </a:rPr>
              <a:t> ISO 20121 aim to address</a:t>
            </a:r>
            <a:r>
              <a:rPr kumimoji="0" lang="en-US" sz="2800" b="1" i="0" u="none" strike="noStrike" kern="1200" cap="none" spc="0" normalizeH="0" baseline="0" noProof="0">
                <a:ln>
                  <a:noFill/>
                </a:ln>
                <a:solidFill>
                  <a:schemeClr val="bg1"/>
                </a:solidFill>
                <a:effectLst/>
                <a:uLnTx/>
                <a:uFillTx/>
                <a:latin typeface="Montserrat"/>
                <a:ea typeface="+mn-ea"/>
                <a:cs typeface="+mn-cs"/>
              </a:rPr>
              <a:t>?</a:t>
            </a:r>
            <a:endParaRPr kumimoji="0" lang="en-ID" sz="2800" b="1" i="0" u="none" strike="noStrike" kern="1200" cap="none" spc="0" normalizeH="0" baseline="0" noProof="0">
              <a:ln>
                <a:noFill/>
              </a:ln>
              <a:solidFill>
                <a:schemeClr val="bg1"/>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3277000" y="1686813"/>
            <a:ext cx="7956166" cy="4216091"/>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r>
              <a:rPr lang="en-US" sz="1200" dirty="0">
                <a:solidFill>
                  <a:schemeClr val="bg1"/>
                </a:solidFill>
              </a:rPr>
              <a:t>ISO 20121 requires event organizers to consider “risks and opportunities” with a very specific focus on the following:</a:t>
            </a:r>
          </a:p>
          <a:p>
            <a:endParaRPr lang="en-US" sz="1200" dirty="0">
              <a:solidFill>
                <a:schemeClr val="bg1"/>
              </a:solidFill>
            </a:endParaRPr>
          </a:p>
          <a:p>
            <a:pPr marL="171450" indent="-171450">
              <a:buFont typeface="Arial" panose="020B0604020202020204" pitchFamily="34" charset="0"/>
              <a:buChar char="•"/>
            </a:pPr>
            <a:r>
              <a:rPr lang="en-US" sz="1200" dirty="0">
                <a:solidFill>
                  <a:schemeClr val="bg1"/>
                </a:solidFill>
              </a:rPr>
              <a:t>Environmental: resource utilization, materials choice, resource conservation, emissions reduction, biodiversity, and nature preservation, releases to land, water, and air.</a:t>
            </a:r>
          </a:p>
          <a:p>
            <a:pPr marL="171450" indent="-171450">
              <a:buFont typeface="Arial" panose="020B0604020202020204" pitchFamily="34" charset="0"/>
              <a:buChar char="•"/>
            </a:pPr>
            <a:endParaRPr lang="en-US" sz="1200" dirty="0">
              <a:solidFill>
                <a:schemeClr val="bg1"/>
              </a:solidFill>
            </a:endParaRPr>
          </a:p>
          <a:p>
            <a:pPr marL="171450" indent="-171450">
              <a:buFont typeface="Arial" panose="020B0604020202020204" pitchFamily="34" charset="0"/>
              <a:buChar char="•"/>
            </a:pPr>
            <a:r>
              <a:rPr lang="en-US" sz="1200" dirty="0">
                <a:solidFill>
                  <a:schemeClr val="bg1"/>
                </a:solidFill>
              </a:rPr>
              <a:t>Social: labor standards, health and safety, civil liberties, social justice, local community, indigenous rights, cultural issues, accessibility, equity, heritage, and religious sensitivities.</a:t>
            </a:r>
          </a:p>
          <a:p>
            <a:pPr marL="171450" indent="-171450">
              <a:buFont typeface="Arial" panose="020B0604020202020204" pitchFamily="34" charset="0"/>
              <a:buChar char="•"/>
            </a:pPr>
            <a:endParaRPr lang="en-US" sz="1200" dirty="0">
              <a:solidFill>
                <a:schemeClr val="bg1"/>
              </a:solidFill>
            </a:endParaRPr>
          </a:p>
          <a:p>
            <a:pPr marL="171450" indent="-171450">
              <a:buFont typeface="Arial" panose="020B0604020202020204" pitchFamily="34" charset="0"/>
              <a:buChar char="•"/>
            </a:pPr>
            <a:r>
              <a:rPr lang="en-US" sz="1200" dirty="0">
                <a:solidFill>
                  <a:schemeClr val="bg1"/>
                </a:solidFill>
              </a:rPr>
              <a:t>Economic</a:t>
            </a:r>
            <a:r>
              <a:rPr lang="en-US" sz="1200">
                <a:solidFill>
                  <a:schemeClr val="bg1"/>
                </a:solidFill>
              </a:rPr>
              <a:t>: return </a:t>
            </a:r>
            <a:r>
              <a:rPr lang="en-US" sz="1200" dirty="0">
                <a:solidFill>
                  <a:schemeClr val="bg1"/>
                </a:solidFill>
              </a:rPr>
              <a:t>on investment, local economy, market capacity, shareholder value, innovation, direct and indirect economic impact, market presence, economic performance, risk, fair trade, and profit sharing.</a:t>
            </a:r>
          </a:p>
          <a:p>
            <a:endParaRPr lang="en-US" sz="1200" dirty="0">
              <a:solidFill>
                <a:schemeClr val="bg1"/>
              </a:solidFill>
            </a:endParaRPr>
          </a:p>
          <a:p>
            <a:r>
              <a:rPr lang="en-US" sz="1200" dirty="0">
                <a:solidFill>
                  <a:schemeClr val="bg1"/>
                </a:solidFill>
              </a:rPr>
              <a:t>As ISO 20121 is multipronged, many kinds of organizations can use this standard and the guidance within it to develop a proactive and positive approach to tackling these multiple challenges.</a:t>
            </a: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grpSp>
        <p:nvGrpSpPr>
          <p:cNvPr id="9" name="Group 8">
            <a:extLst>
              <a:ext uri="{FF2B5EF4-FFF2-40B4-BE49-F238E27FC236}">
                <a16:creationId xmlns:a16="http://schemas.microsoft.com/office/drawing/2014/main" id="{0F162AAC-20A8-1C39-E4CC-C9B1CB78C3DF}"/>
              </a:ext>
            </a:extLst>
          </p:cNvPr>
          <p:cNvGrpSpPr/>
          <p:nvPr/>
        </p:nvGrpSpPr>
        <p:grpSpPr>
          <a:xfrm>
            <a:off x="447160" y="2155285"/>
            <a:ext cx="2382680" cy="2547428"/>
            <a:chOff x="10867441" y="635794"/>
            <a:chExt cx="277812" cy="290513"/>
          </a:xfrm>
          <a:solidFill>
            <a:schemeClr val="accent1">
              <a:lumMod val="60000"/>
              <a:lumOff val="40000"/>
            </a:schemeClr>
          </a:solidFill>
        </p:grpSpPr>
        <p:sp>
          <p:nvSpPr>
            <p:cNvPr id="6" name="Freeform 1462">
              <a:extLst>
                <a:ext uri="{FF2B5EF4-FFF2-40B4-BE49-F238E27FC236}">
                  <a16:creationId xmlns:a16="http://schemas.microsoft.com/office/drawing/2014/main" id="{180579FF-B919-4B16-136D-AD39282B7B05}"/>
                </a:ext>
              </a:extLst>
            </p:cNvPr>
            <p:cNvSpPr>
              <a:spLocks/>
            </p:cNvSpPr>
            <p:nvPr/>
          </p:nvSpPr>
          <p:spPr bwMode="auto">
            <a:xfrm>
              <a:off x="10962691" y="635794"/>
              <a:ext cx="46037" cy="47625"/>
            </a:xfrm>
            <a:custGeom>
              <a:avLst/>
              <a:gdLst>
                <a:gd name="T0" fmla="*/ 269 w 538"/>
                <a:gd name="T1" fmla="*/ 0 h 539"/>
                <a:gd name="T2" fmla="*/ 309 w 538"/>
                <a:gd name="T3" fmla="*/ 3 h 539"/>
                <a:gd name="T4" fmla="*/ 347 w 538"/>
                <a:gd name="T5" fmla="*/ 11 h 539"/>
                <a:gd name="T6" fmla="*/ 382 w 538"/>
                <a:gd name="T7" fmla="*/ 25 h 539"/>
                <a:gd name="T8" fmla="*/ 415 w 538"/>
                <a:gd name="T9" fmla="*/ 43 h 539"/>
                <a:gd name="T10" fmla="*/ 445 w 538"/>
                <a:gd name="T11" fmla="*/ 66 h 539"/>
                <a:gd name="T12" fmla="*/ 472 w 538"/>
                <a:gd name="T13" fmla="*/ 92 h 539"/>
                <a:gd name="T14" fmla="*/ 494 w 538"/>
                <a:gd name="T15" fmla="*/ 122 h 539"/>
                <a:gd name="T16" fmla="*/ 514 w 538"/>
                <a:gd name="T17" fmla="*/ 156 h 539"/>
                <a:gd name="T18" fmla="*/ 527 w 538"/>
                <a:gd name="T19" fmla="*/ 192 h 539"/>
                <a:gd name="T20" fmla="*/ 536 w 538"/>
                <a:gd name="T21" fmla="*/ 229 h 539"/>
                <a:gd name="T22" fmla="*/ 538 w 538"/>
                <a:gd name="T23" fmla="*/ 269 h 539"/>
                <a:gd name="T24" fmla="*/ 536 w 538"/>
                <a:gd name="T25" fmla="*/ 309 h 539"/>
                <a:gd name="T26" fmla="*/ 527 w 538"/>
                <a:gd name="T27" fmla="*/ 347 h 539"/>
                <a:gd name="T28" fmla="*/ 514 w 538"/>
                <a:gd name="T29" fmla="*/ 382 h 539"/>
                <a:gd name="T30" fmla="*/ 494 w 538"/>
                <a:gd name="T31" fmla="*/ 416 h 539"/>
                <a:gd name="T32" fmla="*/ 472 w 538"/>
                <a:gd name="T33" fmla="*/ 446 h 539"/>
                <a:gd name="T34" fmla="*/ 445 w 538"/>
                <a:gd name="T35" fmla="*/ 473 h 539"/>
                <a:gd name="T36" fmla="*/ 415 w 538"/>
                <a:gd name="T37" fmla="*/ 495 h 539"/>
                <a:gd name="T38" fmla="*/ 382 w 538"/>
                <a:gd name="T39" fmla="*/ 514 h 539"/>
                <a:gd name="T40" fmla="*/ 347 w 538"/>
                <a:gd name="T41" fmla="*/ 527 h 539"/>
                <a:gd name="T42" fmla="*/ 309 w 538"/>
                <a:gd name="T43" fmla="*/ 536 h 539"/>
                <a:gd name="T44" fmla="*/ 269 w 538"/>
                <a:gd name="T45" fmla="*/ 539 h 539"/>
                <a:gd name="T46" fmla="*/ 230 w 538"/>
                <a:gd name="T47" fmla="*/ 536 h 539"/>
                <a:gd name="T48" fmla="*/ 191 w 538"/>
                <a:gd name="T49" fmla="*/ 527 h 539"/>
                <a:gd name="T50" fmla="*/ 155 w 538"/>
                <a:gd name="T51" fmla="*/ 514 h 539"/>
                <a:gd name="T52" fmla="*/ 122 w 538"/>
                <a:gd name="T53" fmla="*/ 495 h 539"/>
                <a:gd name="T54" fmla="*/ 92 w 538"/>
                <a:gd name="T55" fmla="*/ 473 h 539"/>
                <a:gd name="T56" fmla="*/ 66 w 538"/>
                <a:gd name="T57" fmla="*/ 446 h 539"/>
                <a:gd name="T58" fmla="*/ 43 w 538"/>
                <a:gd name="T59" fmla="*/ 416 h 539"/>
                <a:gd name="T60" fmla="*/ 25 w 538"/>
                <a:gd name="T61" fmla="*/ 382 h 539"/>
                <a:gd name="T62" fmla="*/ 11 w 538"/>
                <a:gd name="T63" fmla="*/ 347 h 539"/>
                <a:gd name="T64" fmla="*/ 3 w 538"/>
                <a:gd name="T65" fmla="*/ 309 h 539"/>
                <a:gd name="T66" fmla="*/ 0 w 538"/>
                <a:gd name="T67" fmla="*/ 269 h 539"/>
                <a:gd name="T68" fmla="*/ 3 w 538"/>
                <a:gd name="T69" fmla="*/ 229 h 539"/>
                <a:gd name="T70" fmla="*/ 11 w 538"/>
                <a:gd name="T71" fmla="*/ 192 h 539"/>
                <a:gd name="T72" fmla="*/ 25 w 538"/>
                <a:gd name="T73" fmla="*/ 156 h 539"/>
                <a:gd name="T74" fmla="*/ 43 w 538"/>
                <a:gd name="T75" fmla="*/ 122 h 539"/>
                <a:gd name="T76" fmla="*/ 66 w 538"/>
                <a:gd name="T77" fmla="*/ 92 h 539"/>
                <a:gd name="T78" fmla="*/ 92 w 538"/>
                <a:gd name="T79" fmla="*/ 66 h 539"/>
                <a:gd name="T80" fmla="*/ 122 w 538"/>
                <a:gd name="T81" fmla="*/ 43 h 539"/>
                <a:gd name="T82" fmla="*/ 155 w 538"/>
                <a:gd name="T83" fmla="*/ 25 h 539"/>
                <a:gd name="T84" fmla="*/ 191 w 538"/>
                <a:gd name="T85" fmla="*/ 11 h 539"/>
                <a:gd name="T86" fmla="*/ 230 w 538"/>
                <a:gd name="T87" fmla="*/ 3 h 539"/>
                <a:gd name="T88" fmla="*/ 269 w 538"/>
                <a:gd name="T89" fmla="*/ 0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8" h="539">
                  <a:moveTo>
                    <a:pt x="269" y="0"/>
                  </a:moveTo>
                  <a:lnTo>
                    <a:pt x="309" y="3"/>
                  </a:lnTo>
                  <a:lnTo>
                    <a:pt x="347" y="11"/>
                  </a:lnTo>
                  <a:lnTo>
                    <a:pt x="382" y="25"/>
                  </a:lnTo>
                  <a:lnTo>
                    <a:pt x="415" y="43"/>
                  </a:lnTo>
                  <a:lnTo>
                    <a:pt x="445" y="66"/>
                  </a:lnTo>
                  <a:lnTo>
                    <a:pt x="472" y="92"/>
                  </a:lnTo>
                  <a:lnTo>
                    <a:pt x="494" y="122"/>
                  </a:lnTo>
                  <a:lnTo>
                    <a:pt x="514" y="156"/>
                  </a:lnTo>
                  <a:lnTo>
                    <a:pt x="527" y="192"/>
                  </a:lnTo>
                  <a:lnTo>
                    <a:pt x="536" y="229"/>
                  </a:lnTo>
                  <a:lnTo>
                    <a:pt x="538" y="269"/>
                  </a:lnTo>
                  <a:lnTo>
                    <a:pt x="536" y="309"/>
                  </a:lnTo>
                  <a:lnTo>
                    <a:pt x="527" y="347"/>
                  </a:lnTo>
                  <a:lnTo>
                    <a:pt x="514" y="382"/>
                  </a:lnTo>
                  <a:lnTo>
                    <a:pt x="494" y="416"/>
                  </a:lnTo>
                  <a:lnTo>
                    <a:pt x="472" y="446"/>
                  </a:lnTo>
                  <a:lnTo>
                    <a:pt x="445" y="473"/>
                  </a:lnTo>
                  <a:lnTo>
                    <a:pt x="415" y="495"/>
                  </a:lnTo>
                  <a:lnTo>
                    <a:pt x="382" y="514"/>
                  </a:lnTo>
                  <a:lnTo>
                    <a:pt x="347" y="527"/>
                  </a:lnTo>
                  <a:lnTo>
                    <a:pt x="309" y="536"/>
                  </a:lnTo>
                  <a:lnTo>
                    <a:pt x="269" y="539"/>
                  </a:lnTo>
                  <a:lnTo>
                    <a:pt x="230" y="536"/>
                  </a:lnTo>
                  <a:lnTo>
                    <a:pt x="191" y="527"/>
                  </a:lnTo>
                  <a:lnTo>
                    <a:pt x="155" y="514"/>
                  </a:lnTo>
                  <a:lnTo>
                    <a:pt x="122" y="495"/>
                  </a:lnTo>
                  <a:lnTo>
                    <a:pt x="92" y="473"/>
                  </a:lnTo>
                  <a:lnTo>
                    <a:pt x="66" y="446"/>
                  </a:lnTo>
                  <a:lnTo>
                    <a:pt x="43" y="416"/>
                  </a:lnTo>
                  <a:lnTo>
                    <a:pt x="25" y="382"/>
                  </a:lnTo>
                  <a:lnTo>
                    <a:pt x="11" y="347"/>
                  </a:lnTo>
                  <a:lnTo>
                    <a:pt x="3" y="309"/>
                  </a:lnTo>
                  <a:lnTo>
                    <a:pt x="0" y="269"/>
                  </a:lnTo>
                  <a:lnTo>
                    <a:pt x="3" y="229"/>
                  </a:lnTo>
                  <a:lnTo>
                    <a:pt x="11" y="192"/>
                  </a:lnTo>
                  <a:lnTo>
                    <a:pt x="25" y="156"/>
                  </a:lnTo>
                  <a:lnTo>
                    <a:pt x="43" y="122"/>
                  </a:lnTo>
                  <a:lnTo>
                    <a:pt x="66" y="92"/>
                  </a:lnTo>
                  <a:lnTo>
                    <a:pt x="92" y="66"/>
                  </a:lnTo>
                  <a:lnTo>
                    <a:pt x="122" y="43"/>
                  </a:lnTo>
                  <a:lnTo>
                    <a:pt x="155" y="25"/>
                  </a:lnTo>
                  <a:lnTo>
                    <a:pt x="191" y="11"/>
                  </a:lnTo>
                  <a:lnTo>
                    <a:pt x="230" y="3"/>
                  </a:lnTo>
                  <a:lnTo>
                    <a:pt x="2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 7">
              <a:extLst>
                <a:ext uri="{FF2B5EF4-FFF2-40B4-BE49-F238E27FC236}">
                  <a16:creationId xmlns:a16="http://schemas.microsoft.com/office/drawing/2014/main" id="{83BE4785-C0D7-E9E1-9156-2EE799B56D7C}"/>
                </a:ext>
              </a:extLst>
            </p:cNvPr>
            <p:cNvGrpSpPr/>
            <p:nvPr/>
          </p:nvGrpSpPr>
          <p:grpSpPr>
            <a:xfrm>
              <a:off x="10867441" y="681832"/>
              <a:ext cx="277812" cy="244475"/>
              <a:chOff x="10867441" y="681832"/>
              <a:chExt cx="277812" cy="244475"/>
            </a:xfrm>
            <a:grpFill/>
          </p:grpSpPr>
          <p:sp>
            <p:nvSpPr>
              <p:cNvPr id="4" name="Freeform 1461">
                <a:extLst>
                  <a:ext uri="{FF2B5EF4-FFF2-40B4-BE49-F238E27FC236}">
                    <a16:creationId xmlns:a16="http://schemas.microsoft.com/office/drawing/2014/main" id="{1E6160FC-22A8-BB0A-7BA9-8641794D52E5}"/>
                  </a:ext>
                </a:extLst>
              </p:cNvPr>
              <p:cNvSpPr>
                <a:spLocks noEditPoints="1"/>
              </p:cNvSpPr>
              <p:nvPr/>
            </p:nvSpPr>
            <p:spPr bwMode="auto">
              <a:xfrm>
                <a:off x="10867441" y="681832"/>
                <a:ext cx="182562" cy="209550"/>
              </a:xfrm>
              <a:custGeom>
                <a:avLst/>
                <a:gdLst>
                  <a:gd name="T0" fmla="*/ 1747 w 2065"/>
                  <a:gd name="T1" fmla="*/ 1054 h 2374"/>
                  <a:gd name="T2" fmla="*/ 666 w 2065"/>
                  <a:gd name="T3" fmla="*/ 420 h 2374"/>
                  <a:gd name="T4" fmla="*/ 973 w 2065"/>
                  <a:gd name="T5" fmla="*/ 5 h 2374"/>
                  <a:gd name="T6" fmla="*/ 1318 w 2065"/>
                  <a:gd name="T7" fmla="*/ 133 h 2374"/>
                  <a:gd name="T8" fmla="*/ 1406 w 2065"/>
                  <a:gd name="T9" fmla="*/ 205 h 2374"/>
                  <a:gd name="T10" fmla="*/ 1435 w 2065"/>
                  <a:gd name="T11" fmla="*/ 312 h 2374"/>
                  <a:gd name="T12" fmla="*/ 1122 w 2065"/>
                  <a:gd name="T13" fmla="*/ 248 h 2374"/>
                  <a:gd name="T14" fmla="*/ 1327 w 2065"/>
                  <a:gd name="T15" fmla="*/ 699 h 2374"/>
                  <a:gd name="T16" fmla="*/ 1445 w 2065"/>
                  <a:gd name="T17" fmla="*/ 731 h 2374"/>
                  <a:gd name="T18" fmla="*/ 1577 w 2065"/>
                  <a:gd name="T19" fmla="*/ 764 h 2374"/>
                  <a:gd name="T20" fmla="*/ 1671 w 2065"/>
                  <a:gd name="T21" fmla="*/ 789 h 2374"/>
                  <a:gd name="T22" fmla="*/ 1744 w 2065"/>
                  <a:gd name="T23" fmla="*/ 829 h 2374"/>
                  <a:gd name="T24" fmla="*/ 1774 w 2065"/>
                  <a:gd name="T25" fmla="*/ 919 h 2374"/>
                  <a:gd name="T26" fmla="*/ 1867 w 2065"/>
                  <a:gd name="T27" fmla="*/ 944 h 2374"/>
                  <a:gd name="T28" fmla="*/ 1882 w 2065"/>
                  <a:gd name="T29" fmla="*/ 983 h 2374"/>
                  <a:gd name="T30" fmla="*/ 1882 w 2065"/>
                  <a:gd name="T31" fmla="*/ 1002 h 2374"/>
                  <a:gd name="T32" fmla="*/ 1882 w 2065"/>
                  <a:gd name="T33" fmla="*/ 1070 h 2374"/>
                  <a:gd name="T34" fmla="*/ 2017 w 2065"/>
                  <a:gd name="T35" fmla="*/ 1136 h 2374"/>
                  <a:gd name="T36" fmla="*/ 2063 w 2065"/>
                  <a:gd name="T37" fmla="*/ 1182 h 2374"/>
                  <a:gd name="T38" fmla="*/ 2056 w 2065"/>
                  <a:gd name="T39" fmla="*/ 1699 h 2374"/>
                  <a:gd name="T40" fmla="*/ 2000 w 2065"/>
                  <a:gd name="T41" fmla="*/ 1731 h 2374"/>
                  <a:gd name="T42" fmla="*/ 1237 w 2065"/>
                  <a:gd name="T43" fmla="*/ 1712 h 2374"/>
                  <a:gd name="T44" fmla="*/ 1218 w 2065"/>
                  <a:gd name="T45" fmla="*/ 1199 h 2374"/>
                  <a:gd name="T46" fmla="*/ 1250 w 2065"/>
                  <a:gd name="T47" fmla="*/ 1143 h 2374"/>
                  <a:gd name="T48" fmla="*/ 1402 w 2065"/>
                  <a:gd name="T49" fmla="*/ 1097 h 2374"/>
                  <a:gd name="T50" fmla="*/ 1402 w 2065"/>
                  <a:gd name="T51" fmla="*/ 1007 h 2374"/>
                  <a:gd name="T52" fmla="*/ 1403 w 2065"/>
                  <a:gd name="T53" fmla="*/ 978 h 2374"/>
                  <a:gd name="T54" fmla="*/ 1151 w 2065"/>
                  <a:gd name="T55" fmla="*/ 906 h 2374"/>
                  <a:gd name="T56" fmla="*/ 1076 w 2065"/>
                  <a:gd name="T57" fmla="*/ 850 h 2374"/>
                  <a:gd name="T58" fmla="*/ 911 w 2065"/>
                  <a:gd name="T59" fmla="*/ 478 h 2374"/>
                  <a:gd name="T60" fmla="*/ 931 w 2065"/>
                  <a:gd name="T61" fmla="*/ 670 h 2374"/>
                  <a:gd name="T62" fmla="*/ 943 w 2065"/>
                  <a:gd name="T63" fmla="*/ 783 h 2374"/>
                  <a:gd name="T64" fmla="*/ 949 w 2065"/>
                  <a:gd name="T65" fmla="*/ 838 h 2374"/>
                  <a:gd name="T66" fmla="*/ 952 w 2065"/>
                  <a:gd name="T67" fmla="*/ 858 h 2374"/>
                  <a:gd name="T68" fmla="*/ 955 w 2065"/>
                  <a:gd name="T69" fmla="*/ 867 h 2374"/>
                  <a:gd name="T70" fmla="*/ 1017 w 2065"/>
                  <a:gd name="T71" fmla="*/ 962 h 2374"/>
                  <a:gd name="T72" fmla="*/ 1096 w 2065"/>
                  <a:gd name="T73" fmla="*/ 1011 h 2374"/>
                  <a:gd name="T74" fmla="*/ 1169 w 2065"/>
                  <a:gd name="T75" fmla="*/ 1033 h 2374"/>
                  <a:gd name="T76" fmla="*/ 1123 w 2065"/>
                  <a:gd name="T77" fmla="*/ 1094 h 2374"/>
                  <a:gd name="T78" fmla="*/ 1094 w 2065"/>
                  <a:gd name="T79" fmla="*/ 1177 h 2374"/>
                  <a:gd name="T80" fmla="*/ 1092 w 2065"/>
                  <a:gd name="T81" fmla="*/ 1235 h 2374"/>
                  <a:gd name="T82" fmla="*/ 1114 w 2065"/>
                  <a:gd name="T83" fmla="*/ 1755 h 2374"/>
                  <a:gd name="T84" fmla="*/ 1198 w 2065"/>
                  <a:gd name="T85" fmla="*/ 1838 h 2374"/>
                  <a:gd name="T86" fmla="*/ 1096 w 2065"/>
                  <a:gd name="T87" fmla="*/ 2303 h 2374"/>
                  <a:gd name="T88" fmla="*/ 1023 w 2065"/>
                  <a:gd name="T89" fmla="*/ 2365 h 2374"/>
                  <a:gd name="T90" fmla="*/ 924 w 2065"/>
                  <a:gd name="T91" fmla="*/ 2366 h 2374"/>
                  <a:gd name="T92" fmla="*/ 850 w 2065"/>
                  <a:gd name="T93" fmla="*/ 2304 h 2374"/>
                  <a:gd name="T94" fmla="*/ 832 w 2065"/>
                  <a:gd name="T95" fmla="*/ 2210 h 2374"/>
                  <a:gd name="T96" fmla="*/ 880 w 2065"/>
                  <a:gd name="T97" fmla="*/ 1481 h 2374"/>
                  <a:gd name="T98" fmla="*/ 880 w 2065"/>
                  <a:gd name="T99" fmla="*/ 1575 h 2374"/>
                  <a:gd name="T100" fmla="*/ 819 w 2065"/>
                  <a:gd name="T101" fmla="*/ 1650 h 2374"/>
                  <a:gd name="T102" fmla="*/ 739 w 2065"/>
                  <a:gd name="T103" fmla="*/ 1670 h 2374"/>
                  <a:gd name="T104" fmla="*/ 72 w 2065"/>
                  <a:gd name="T105" fmla="*/ 1587 h 2374"/>
                  <a:gd name="T106" fmla="*/ 5 w 2065"/>
                  <a:gd name="T107" fmla="*/ 1503 h 2374"/>
                  <a:gd name="T108" fmla="*/ 17 w 2065"/>
                  <a:gd name="T109" fmla="*/ 1393 h 2374"/>
                  <a:gd name="T110" fmla="*/ 100 w 2065"/>
                  <a:gd name="T111" fmla="*/ 1326 h 2374"/>
                  <a:gd name="T112" fmla="*/ 446 w 2065"/>
                  <a:gd name="T113" fmla="*/ 1103 h 2374"/>
                  <a:gd name="T114" fmla="*/ 451 w 2065"/>
                  <a:gd name="T115" fmla="*/ 996 h 2374"/>
                  <a:gd name="T116" fmla="*/ 287 w 2065"/>
                  <a:gd name="T117" fmla="*/ 209 h 2374"/>
                  <a:gd name="T118" fmla="*/ 312 w 2065"/>
                  <a:gd name="T119" fmla="*/ 120 h 2374"/>
                  <a:gd name="T120" fmla="*/ 391 w 2065"/>
                  <a:gd name="T121" fmla="*/ 74 h 2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65" h="2374">
                    <a:moveTo>
                      <a:pt x="1536" y="1054"/>
                    </a:moveTo>
                    <a:lnTo>
                      <a:pt x="1536" y="1134"/>
                    </a:lnTo>
                    <a:lnTo>
                      <a:pt x="1747" y="1134"/>
                    </a:lnTo>
                    <a:lnTo>
                      <a:pt x="1747" y="1054"/>
                    </a:lnTo>
                    <a:lnTo>
                      <a:pt x="1536" y="1054"/>
                    </a:lnTo>
                    <a:close/>
                    <a:moveTo>
                      <a:pt x="723" y="274"/>
                    </a:moveTo>
                    <a:lnTo>
                      <a:pt x="598" y="292"/>
                    </a:lnTo>
                    <a:lnTo>
                      <a:pt x="666" y="420"/>
                    </a:lnTo>
                    <a:lnTo>
                      <a:pt x="723" y="274"/>
                    </a:lnTo>
                    <a:close/>
                    <a:moveTo>
                      <a:pt x="931" y="0"/>
                    </a:moveTo>
                    <a:lnTo>
                      <a:pt x="953" y="1"/>
                    </a:lnTo>
                    <a:lnTo>
                      <a:pt x="973" y="5"/>
                    </a:lnTo>
                    <a:lnTo>
                      <a:pt x="990" y="10"/>
                    </a:lnTo>
                    <a:lnTo>
                      <a:pt x="1005" y="14"/>
                    </a:lnTo>
                    <a:lnTo>
                      <a:pt x="1015" y="18"/>
                    </a:lnTo>
                    <a:lnTo>
                      <a:pt x="1318" y="133"/>
                    </a:lnTo>
                    <a:lnTo>
                      <a:pt x="1345" y="146"/>
                    </a:lnTo>
                    <a:lnTo>
                      <a:pt x="1369" y="163"/>
                    </a:lnTo>
                    <a:lnTo>
                      <a:pt x="1389" y="183"/>
                    </a:lnTo>
                    <a:lnTo>
                      <a:pt x="1406" y="205"/>
                    </a:lnTo>
                    <a:lnTo>
                      <a:pt x="1419" y="230"/>
                    </a:lnTo>
                    <a:lnTo>
                      <a:pt x="1429" y="256"/>
                    </a:lnTo>
                    <a:lnTo>
                      <a:pt x="1434" y="283"/>
                    </a:lnTo>
                    <a:lnTo>
                      <a:pt x="1435" y="312"/>
                    </a:lnTo>
                    <a:lnTo>
                      <a:pt x="1431" y="340"/>
                    </a:lnTo>
                    <a:lnTo>
                      <a:pt x="1423" y="368"/>
                    </a:lnTo>
                    <a:lnTo>
                      <a:pt x="1343" y="578"/>
                    </a:lnTo>
                    <a:lnTo>
                      <a:pt x="1122" y="248"/>
                    </a:lnTo>
                    <a:lnTo>
                      <a:pt x="1274" y="686"/>
                    </a:lnTo>
                    <a:lnTo>
                      <a:pt x="1287" y="689"/>
                    </a:lnTo>
                    <a:lnTo>
                      <a:pt x="1305" y="694"/>
                    </a:lnTo>
                    <a:lnTo>
                      <a:pt x="1327" y="699"/>
                    </a:lnTo>
                    <a:lnTo>
                      <a:pt x="1353" y="706"/>
                    </a:lnTo>
                    <a:lnTo>
                      <a:pt x="1382" y="713"/>
                    </a:lnTo>
                    <a:lnTo>
                      <a:pt x="1413" y="722"/>
                    </a:lnTo>
                    <a:lnTo>
                      <a:pt x="1445" y="731"/>
                    </a:lnTo>
                    <a:lnTo>
                      <a:pt x="1479" y="739"/>
                    </a:lnTo>
                    <a:lnTo>
                      <a:pt x="1512" y="748"/>
                    </a:lnTo>
                    <a:lnTo>
                      <a:pt x="1545" y="756"/>
                    </a:lnTo>
                    <a:lnTo>
                      <a:pt x="1577" y="764"/>
                    </a:lnTo>
                    <a:lnTo>
                      <a:pt x="1606" y="772"/>
                    </a:lnTo>
                    <a:lnTo>
                      <a:pt x="1631" y="778"/>
                    </a:lnTo>
                    <a:lnTo>
                      <a:pt x="1654" y="784"/>
                    </a:lnTo>
                    <a:lnTo>
                      <a:pt x="1671" y="789"/>
                    </a:lnTo>
                    <a:lnTo>
                      <a:pt x="1684" y="792"/>
                    </a:lnTo>
                    <a:lnTo>
                      <a:pt x="1707" y="800"/>
                    </a:lnTo>
                    <a:lnTo>
                      <a:pt x="1727" y="813"/>
                    </a:lnTo>
                    <a:lnTo>
                      <a:pt x="1744" y="829"/>
                    </a:lnTo>
                    <a:lnTo>
                      <a:pt x="1758" y="848"/>
                    </a:lnTo>
                    <a:lnTo>
                      <a:pt x="1768" y="870"/>
                    </a:lnTo>
                    <a:lnTo>
                      <a:pt x="1774" y="894"/>
                    </a:lnTo>
                    <a:lnTo>
                      <a:pt x="1774" y="919"/>
                    </a:lnTo>
                    <a:lnTo>
                      <a:pt x="1814" y="919"/>
                    </a:lnTo>
                    <a:lnTo>
                      <a:pt x="1834" y="922"/>
                    </a:lnTo>
                    <a:lnTo>
                      <a:pt x="1852" y="931"/>
                    </a:lnTo>
                    <a:lnTo>
                      <a:pt x="1867" y="944"/>
                    </a:lnTo>
                    <a:lnTo>
                      <a:pt x="1877" y="961"/>
                    </a:lnTo>
                    <a:lnTo>
                      <a:pt x="1882" y="980"/>
                    </a:lnTo>
                    <a:lnTo>
                      <a:pt x="1882" y="982"/>
                    </a:lnTo>
                    <a:lnTo>
                      <a:pt x="1882" y="983"/>
                    </a:lnTo>
                    <a:lnTo>
                      <a:pt x="1882" y="985"/>
                    </a:lnTo>
                    <a:lnTo>
                      <a:pt x="1882" y="988"/>
                    </a:lnTo>
                    <a:lnTo>
                      <a:pt x="1882" y="994"/>
                    </a:lnTo>
                    <a:lnTo>
                      <a:pt x="1882" y="1002"/>
                    </a:lnTo>
                    <a:lnTo>
                      <a:pt x="1882" y="1013"/>
                    </a:lnTo>
                    <a:lnTo>
                      <a:pt x="1882" y="1027"/>
                    </a:lnTo>
                    <a:lnTo>
                      <a:pt x="1882" y="1046"/>
                    </a:lnTo>
                    <a:lnTo>
                      <a:pt x="1882" y="1070"/>
                    </a:lnTo>
                    <a:lnTo>
                      <a:pt x="1882" y="1099"/>
                    </a:lnTo>
                    <a:lnTo>
                      <a:pt x="1882" y="1134"/>
                    </a:lnTo>
                    <a:lnTo>
                      <a:pt x="2000" y="1134"/>
                    </a:lnTo>
                    <a:lnTo>
                      <a:pt x="2017" y="1136"/>
                    </a:lnTo>
                    <a:lnTo>
                      <a:pt x="2033" y="1143"/>
                    </a:lnTo>
                    <a:lnTo>
                      <a:pt x="2046" y="1153"/>
                    </a:lnTo>
                    <a:lnTo>
                      <a:pt x="2056" y="1166"/>
                    </a:lnTo>
                    <a:lnTo>
                      <a:pt x="2063" y="1182"/>
                    </a:lnTo>
                    <a:lnTo>
                      <a:pt x="2065" y="1199"/>
                    </a:lnTo>
                    <a:lnTo>
                      <a:pt x="2065" y="1666"/>
                    </a:lnTo>
                    <a:lnTo>
                      <a:pt x="2063" y="1684"/>
                    </a:lnTo>
                    <a:lnTo>
                      <a:pt x="2056" y="1699"/>
                    </a:lnTo>
                    <a:lnTo>
                      <a:pt x="2046" y="1712"/>
                    </a:lnTo>
                    <a:lnTo>
                      <a:pt x="2033" y="1722"/>
                    </a:lnTo>
                    <a:lnTo>
                      <a:pt x="2017" y="1729"/>
                    </a:lnTo>
                    <a:lnTo>
                      <a:pt x="2000" y="1731"/>
                    </a:lnTo>
                    <a:lnTo>
                      <a:pt x="1283" y="1731"/>
                    </a:lnTo>
                    <a:lnTo>
                      <a:pt x="1266" y="1729"/>
                    </a:lnTo>
                    <a:lnTo>
                      <a:pt x="1250" y="1722"/>
                    </a:lnTo>
                    <a:lnTo>
                      <a:pt x="1237" y="1712"/>
                    </a:lnTo>
                    <a:lnTo>
                      <a:pt x="1227" y="1699"/>
                    </a:lnTo>
                    <a:lnTo>
                      <a:pt x="1220" y="1684"/>
                    </a:lnTo>
                    <a:lnTo>
                      <a:pt x="1218" y="1666"/>
                    </a:lnTo>
                    <a:lnTo>
                      <a:pt x="1218" y="1199"/>
                    </a:lnTo>
                    <a:lnTo>
                      <a:pt x="1220" y="1182"/>
                    </a:lnTo>
                    <a:lnTo>
                      <a:pt x="1227" y="1166"/>
                    </a:lnTo>
                    <a:lnTo>
                      <a:pt x="1237" y="1153"/>
                    </a:lnTo>
                    <a:lnTo>
                      <a:pt x="1250" y="1143"/>
                    </a:lnTo>
                    <a:lnTo>
                      <a:pt x="1266" y="1136"/>
                    </a:lnTo>
                    <a:lnTo>
                      <a:pt x="1283" y="1134"/>
                    </a:lnTo>
                    <a:lnTo>
                      <a:pt x="1402" y="1134"/>
                    </a:lnTo>
                    <a:lnTo>
                      <a:pt x="1402" y="1097"/>
                    </a:lnTo>
                    <a:lnTo>
                      <a:pt x="1402" y="1066"/>
                    </a:lnTo>
                    <a:lnTo>
                      <a:pt x="1402" y="1041"/>
                    </a:lnTo>
                    <a:lnTo>
                      <a:pt x="1402" y="1022"/>
                    </a:lnTo>
                    <a:lnTo>
                      <a:pt x="1402" y="1007"/>
                    </a:lnTo>
                    <a:lnTo>
                      <a:pt x="1402" y="995"/>
                    </a:lnTo>
                    <a:lnTo>
                      <a:pt x="1402" y="987"/>
                    </a:lnTo>
                    <a:lnTo>
                      <a:pt x="1402" y="981"/>
                    </a:lnTo>
                    <a:lnTo>
                      <a:pt x="1403" y="978"/>
                    </a:lnTo>
                    <a:lnTo>
                      <a:pt x="1403" y="975"/>
                    </a:lnTo>
                    <a:lnTo>
                      <a:pt x="1403" y="973"/>
                    </a:lnTo>
                    <a:lnTo>
                      <a:pt x="1404" y="971"/>
                    </a:lnTo>
                    <a:lnTo>
                      <a:pt x="1151" y="906"/>
                    </a:lnTo>
                    <a:lnTo>
                      <a:pt x="1128" y="898"/>
                    </a:lnTo>
                    <a:lnTo>
                      <a:pt x="1108" y="886"/>
                    </a:lnTo>
                    <a:lnTo>
                      <a:pt x="1090" y="870"/>
                    </a:lnTo>
                    <a:lnTo>
                      <a:pt x="1076" y="850"/>
                    </a:lnTo>
                    <a:lnTo>
                      <a:pt x="1066" y="828"/>
                    </a:lnTo>
                    <a:lnTo>
                      <a:pt x="897" y="344"/>
                    </a:lnTo>
                    <a:lnTo>
                      <a:pt x="904" y="414"/>
                    </a:lnTo>
                    <a:lnTo>
                      <a:pt x="911" y="478"/>
                    </a:lnTo>
                    <a:lnTo>
                      <a:pt x="917" y="535"/>
                    </a:lnTo>
                    <a:lnTo>
                      <a:pt x="922" y="586"/>
                    </a:lnTo>
                    <a:lnTo>
                      <a:pt x="927" y="631"/>
                    </a:lnTo>
                    <a:lnTo>
                      <a:pt x="931" y="670"/>
                    </a:lnTo>
                    <a:lnTo>
                      <a:pt x="935" y="705"/>
                    </a:lnTo>
                    <a:lnTo>
                      <a:pt x="938" y="736"/>
                    </a:lnTo>
                    <a:lnTo>
                      <a:pt x="940" y="762"/>
                    </a:lnTo>
                    <a:lnTo>
                      <a:pt x="943" y="783"/>
                    </a:lnTo>
                    <a:lnTo>
                      <a:pt x="945" y="802"/>
                    </a:lnTo>
                    <a:lnTo>
                      <a:pt x="946" y="816"/>
                    </a:lnTo>
                    <a:lnTo>
                      <a:pt x="948" y="829"/>
                    </a:lnTo>
                    <a:lnTo>
                      <a:pt x="949" y="838"/>
                    </a:lnTo>
                    <a:lnTo>
                      <a:pt x="950" y="846"/>
                    </a:lnTo>
                    <a:lnTo>
                      <a:pt x="951" y="851"/>
                    </a:lnTo>
                    <a:lnTo>
                      <a:pt x="951" y="855"/>
                    </a:lnTo>
                    <a:lnTo>
                      <a:pt x="952" y="858"/>
                    </a:lnTo>
                    <a:lnTo>
                      <a:pt x="953" y="861"/>
                    </a:lnTo>
                    <a:lnTo>
                      <a:pt x="953" y="863"/>
                    </a:lnTo>
                    <a:lnTo>
                      <a:pt x="954" y="865"/>
                    </a:lnTo>
                    <a:lnTo>
                      <a:pt x="955" y="867"/>
                    </a:lnTo>
                    <a:lnTo>
                      <a:pt x="967" y="896"/>
                    </a:lnTo>
                    <a:lnTo>
                      <a:pt x="982" y="922"/>
                    </a:lnTo>
                    <a:lnTo>
                      <a:pt x="998" y="944"/>
                    </a:lnTo>
                    <a:lnTo>
                      <a:pt x="1017" y="962"/>
                    </a:lnTo>
                    <a:lnTo>
                      <a:pt x="1036" y="978"/>
                    </a:lnTo>
                    <a:lnTo>
                      <a:pt x="1056" y="991"/>
                    </a:lnTo>
                    <a:lnTo>
                      <a:pt x="1076" y="1003"/>
                    </a:lnTo>
                    <a:lnTo>
                      <a:pt x="1096" y="1011"/>
                    </a:lnTo>
                    <a:lnTo>
                      <a:pt x="1116" y="1018"/>
                    </a:lnTo>
                    <a:lnTo>
                      <a:pt x="1135" y="1024"/>
                    </a:lnTo>
                    <a:lnTo>
                      <a:pt x="1153" y="1029"/>
                    </a:lnTo>
                    <a:lnTo>
                      <a:pt x="1169" y="1033"/>
                    </a:lnTo>
                    <a:lnTo>
                      <a:pt x="1184" y="1036"/>
                    </a:lnTo>
                    <a:lnTo>
                      <a:pt x="1159" y="1054"/>
                    </a:lnTo>
                    <a:lnTo>
                      <a:pt x="1139" y="1074"/>
                    </a:lnTo>
                    <a:lnTo>
                      <a:pt x="1123" y="1094"/>
                    </a:lnTo>
                    <a:lnTo>
                      <a:pt x="1111" y="1115"/>
                    </a:lnTo>
                    <a:lnTo>
                      <a:pt x="1103" y="1137"/>
                    </a:lnTo>
                    <a:lnTo>
                      <a:pt x="1097" y="1157"/>
                    </a:lnTo>
                    <a:lnTo>
                      <a:pt x="1094" y="1177"/>
                    </a:lnTo>
                    <a:lnTo>
                      <a:pt x="1092" y="1195"/>
                    </a:lnTo>
                    <a:lnTo>
                      <a:pt x="1092" y="1211"/>
                    </a:lnTo>
                    <a:lnTo>
                      <a:pt x="1092" y="1225"/>
                    </a:lnTo>
                    <a:lnTo>
                      <a:pt x="1092" y="1235"/>
                    </a:lnTo>
                    <a:lnTo>
                      <a:pt x="1092" y="1666"/>
                    </a:lnTo>
                    <a:lnTo>
                      <a:pt x="1095" y="1698"/>
                    </a:lnTo>
                    <a:lnTo>
                      <a:pt x="1102" y="1727"/>
                    </a:lnTo>
                    <a:lnTo>
                      <a:pt x="1114" y="1755"/>
                    </a:lnTo>
                    <a:lnTo>
                      <a:pt x="1130" y="1780"/>
                    </a:lnTo>
                    <a:lnTo>
                      <a:pt x="1150" y="1803"/>
                    </a:lnTo>
                    <a:lnTo>
                      <a:pt x="1173" y="1822"/>
                    </a:lnTo>
                    <a:lnTo>
                      <a:pt x="1198" y="1838"/>
                    </a:lnTo>
                    <a:lnTo>
                      <a:pt x="1226" y="1849"/>
                    </a:lnTo>
                    <a:lnTo>
                      <a:pt x="1256" y="1856"/>
                    </a:lnTo>
                    <a:lnTo>
                      <a:pt x="1106" y="2280"/>
                    </a:lnTo>
                    <a:lnTo>
                      <a:pt x="1096" y="2303"/>
                    </a:lnTo>
                    <a:lnTo>
                      <a:pt x="1081" y="2324"/>
                    </a:lnTo>
                    <a:lnTo>
                      <a:pt x="1064" y="2341"/>
                    </a:lnTo>
                    <a:lnTo>
                      <a:pt x="1044" y="2355"/>
                    </a:lnTo>
                    <a:lnTo>
                      <a:pt x="1023" y="2365"/>
                    </a:lnTo>
                    <a:lnTo>
                      <a:pt x="998" y="2372"/>
                    </a:lnTo>
                    <a:lnTo>
                      <a:pt x="974" y="2374"/>
                    </a:lnTo>
                    <a:lnTo>
                      <a:pt x="949" y="2372"/>
                    </a:lnTo>
                    <a:lnTo>
                      <a:pt x="924" y="2366"/>
                    </a:lnTo>
                    <a:lnTo>
                      <a:pt x="901" y="2355"/>
                    </a:lnTo>
                    <a:lnTo>
                      <a:pt x="881" y="2341"/>
                    </a:lnTo>
                    <a:lnTo>
                      <a:pt x="864" y="2324"/>
                    </a:lnTo>
                    <a:lnTo>
                      <a:pt x="850" y="2304"/>
                    </a:lnTo>
                    <a:lnTo>
                      <a:pt x="839" y="2282"/>
                    </a:lnTo>
                    <a:lnTo>
                      <a:pt x="833" y="2259"/>
                    </a:lnTo>
                    <a:lnTo>
                      <a:pt x="830" y="2235"/>
                    </a:lnTo>
                    <a:lnTo>
                      <a:pt x="832" y="2210"/>
                    </a:lnTo>
                    <a:lnTo>
                      <a:pt x="838" y="2185"/>
                    </a:lnTo>
                    <a:lnTo>
                      <a:pt x="1053" y="1581"/>
                    </a:lnTo>
                    <a:lnTo>
                      <a:pt x="750" y="1111"/>
                    </a:lnTo>
                    <a:lnTo>
                      <a:pt x="880" y="1481"/>
                    </a:lnTo>
                    <a:lnTo>
                      <a:pt x="886" y="1504"/>
                    </a:lnTo>
                    <a:lnTo>
                      <a:pt x="888" y="1528"/>
                    </a:lnTo>
                    <a:lnTo>
                      <a:pt x="886" y="1552"/>
                    </a:lnTo>
                    <a:lnTo>
                      <a:pt x="880" y="1575"/>
                    </a:lnTo>
                    <a:lnTo>
                      <a:pt x="871" y="1597"/>
                    </a:lnTo>
                    <a:lnTo>
                      <a:pt x="857" y="1617"/>
                    </a:lnTo>
                    <a:lnTo>
                      <a:pt x="840" y="1636"/>
                    </a:lnTo>
                    <a:lnTo>
                      <a:pt x="819" y="1650"/>
                    </a:lnTo>
                    <a:lnTo>
                      <a:pt x="796" y="1661"/>
                    </a:lnTo>
                    <a:lnTo>
                      <a:pt x="772" y="1668"/>
                    </a:lnTo>
                    <a:lnTo>
                      <a:pt x="746" y="1670"/>
                    </a:lnTo>
                    <a:lnTo>
                      <a:pt x="739" y="1670"/>
                    </a:lnTo>
                    <a:lnTo>
                      <a:pt x="731" y="1670"/>
                    </a:lnTo>
                    <a:lnTo>
                      <a:pt x="126" y="1604"/>
                    </a:lnTo>
                    <a:lnTo>
                      <a:pt x="97" y="1598"/>
                    </a:lnTo>
                    <a:lnTo>
                      <a:pt x="72" y="1587"/>
                    </a:lnTo>
                    <a:lnTo>
                      <a:pt x="49" y="1571"/>
                    </a:lnTo>
                    <a:lnTo>
                      <a:pt x="30" y="1552"/>
                    </a:lnTo>
                    <a:lnTo>
                      <a:pt x="16" y="1528"/>
                    </a:lnTo>
                    <a:lnTo>
                      <a:pt x="5" y="1503"/>
                    </a:lnTo>
                    <a:lnTo>
                      <a:pt x="0" y="1475"/>
                    </a:lnTo>
                    <a:lnTo>
                      <a:pt x="0" y="1447"/>
                    </a:lnTo>
                    <a:lnTo>
                      <a:pt x="6" y="1419"/>
                    </a:lnTo>
                    <a:lnTo>
                      <a:pt x="17" y="1393"/>
                    </a:lnTo>
                    <a:lnTo>
                      <a:pt x="33" y="1371"/>
                    </a:lnTo>
                    <a:lnTo>
                      <a:pt x="52" y="1352"/>
                    </a:lnTo>
                    <a:lnTo>
                      <a:pt x="75" y="1337"/>
                    </a:lnTo>
                    <a:lnTo>
                      <a:pt x="100" y="1326"/>
                    </a:lnTo>
                    <a:lnTo>
                      <a:pt x="128" y="1321"/>
                    </a:lnTo>
                    <a:lnTo>
                      <a:pt x="157" y="1321"/>
                    </a:lnTo>
                    <a:lnTo>
                      <a:pt x="537" y="1363"/>
                    </a:lnTo>
                    <a:lnTo>
                      <a:pt x="446" y="1103"/>
                    </a:lnTo>
                    <a:lnTo>
                      <a:pt x="440" y="1076"/>
                    </a:lnTo>
                    <a:lnTo>
                      <a:pt x="439" y="1049"/>
                    </a:lnTo>
                    <a:lnTo>
                      <a:pt x="443" y="1022"/>
                    </a:lnTo>
                    <a:lnTo>
                      <a:pt x="451" y="996"/>
                    </a:lnTo>
                    <a:lnTo>
                      <a:pt x="552" y="722"/>
                    </a:lnTo>
                    <a:lnTo>
                      <a:pt x="301" y="253"/>
                    </a:lnTo>
                    <a:lnTo>
                      <a:pt x="292" y="231"/>
                    </a:lnTo>
                    <a:lnTo>
                      <a:pt x="287" y="209"/>
                    </a:lnTo>
                    <a:lnTo>
                      <a:pt x="287" y="185"/>
                    </a:lnTo>
                    <a:lnTo>
                      <a:pt x="291" y="162"/>
                    </a:lnTo>
                    <a:lnTo>
                      <a:pt x="299" y="140"/>
                    </a:lnTo>
                    <a:lnTo>
                      <a:pt x="312" y="120"/>
                    </a:lnTo>
                    <a:lnTo>
                      <a:pt x="328" y="103"/>
                    </a:lnTo>
                    <a:lnTo>
                      <a:pt x="347" y="90"/>
                    </a:lnTo>
                    <a:lnTo>
                      <a:pt x="368" y="80"/>
                    </a:lnTo>
                    <a:lnTo>
                      <a:pt x="391" y="74"/>
                    </a:lnTo>
                    <a:lnTo>
                      <a:pt x="909" y="1"/>
                    </a:lnTo>
                    <a:lnTo>
                      <a:pt x="9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1463">
                <a:extLst>
                  <a:ext uri="{FF2B5EF4-FFF2-40B4-BE49-F238E27FC236}">
                    <a16:creationId xmlns:a16="http://schemas.microsoft.com/office/drawing/2014/main" id="{D136A257-3C62-CA19-D65B-CF1EC7266AE5}"/>
                  </a:ext>
                </a:extLst>
              </p:cNvPr>
              <p:cNvSpPr>
                <a:spLocks/>
              </p:cNvSpPr>
              <p:nvPr/>
            </p:nvSpPr>
            <p:spPr bwMode="auto">
              <a:xfrm>
                <a:off x="10926178" y="823119"/>
                <a:ext cx="219075" cy="103188"/>
              </a:xfrm>
              <a:custGeom>
                <a:avLst/>
                <a:gdLst>
                  <a:gd name="T0" fmla="*/ 1893 w 2476"/>
                  <a:gd name="T1" fmla="*/ 0 h 1174"/>
                  <a:gd name="T2" fmla="*/ 2441 w 2476"/>
                  <a:gd name="T3" fmla="*/ 0 h 1174"/>
                  <a:gd name="T4" fmla="*/ 2454 w 2476"/>
                  <a:gd name="T5" fmla="*/ 3 h 1174"/>
                  <a:gd name="T6" fmla="*/ 2466 w 2476"/>
                  <a:gd name="T7" fmla="*/ 10 h 1174"/>
                  <a:gd name="T8" fmla="*/ 2473 w 2476"/>
                  <a:gd name="T9" fmla="*/ 22 h 1174"/>
                  <a:gd name="T10" fmla="*/ 2476 w 2476"/>
                  <a:gd name="T11" fmla="*/ 35 h 1174"/>
                  <a:gd name="T12" fmla="*/ 2476 w 2476"/>
                  <a:gd name="T13" fmla="*/ 1139 h 1174"/>
                  <a:gd name="T14" fmla="*/ 2473 w 2476"/>
                  <a:gd name="T15" fmla="*/ 1152 h 1174"/>
                  <a:gd name="T16" fmla="*/ 2466 w 2476"/>
                  <a:gd name="T17" fmla="*/ 1164 h 1174"/>
                  <a:gd name="T18" fmla="*/ 2454 w 2476"/>
                  <a:gd name="T19" fmla="*/ 1171 h 1174"/>
                  <a:gd name="T20" fmla="*/ 2441 w 2476"/>
                  <a:gd name="T21" fmla="*/ 1174 h 1174"/>
                  <a:gd name="T22" fmla="*/ 35 w 2476"/>
                  <a:gd name="T23" fmla="*/ 1174 h 1174"/>
                  <a:gd name="T24" fmla="*/ 21 w 2476"/>
                  <a:gd name="T25" fmla="*/ 1171 h 1174"/>
                  <a:gd name="T26" fmla="*/ 10 w 2476"/>
                  <a:gd name="T27" fmla="*/ 1164 h 1174"/>
                  <a:gd name="T28" fmla="*/ 3 w 2476"/>
                  <a:gd name="T29" fmla="*/ 1152 h 1174"/>
                  <a:gd name="T30" fmla="*/ 0 w 2476"/>
                  <a:gd name="T31" fmla="*/ 1139 h 1174"/>
                  <a:gd name="T32" fmla="*/ 0 w 2476"/>
                  <a:gd name="T33" fmla="*/ 916 h 1174"/>
                  <a:gd name="T34" fmla="*/ 3 w 2476"/>
                  <a:gd name="T35" fmla="*/ 902 h 1174"/>
                  <a:gd name="T36" fmla="*/ 10 w 2476"/>
                  <a:gd name="T37" fmla="*/ 891 h 1174"/>
                  <a:gd name="T38" fmla="*/ 21 w 2476"/>
                  <a:gd name="T39" fmla="*/ 883 h 1174"/>
                  <a:gd name="T40" fmla="*/ 35 w 2476"/>
                  <a:gd name="T41" fmla="*/ 881 h 1174"/>
                  <a:gd name="T42" fmla="*/ 619 w 2476"/>
                  <a:gd name="T43" fmla="*/ 881 h 1174"/>
                  <a:gd name="T44" fmla="*/ 619 w 2476"/>
                  <a:gd name="T45" fmla="*/ 622 h 1174"/>
                  <a:gd name="T46" fmla="*/ 621 w 2476"/>
                  <a:gd name="T47" fmla="*/ 609 h 1174"/>
                  <a:gd name="T48" fmla="*/ 630 w 2476"/>
                  <a:gd name="T49" fmla="*/ 597 h 1174"/>
                  <a:gd name="T50" fmla="*/ 641 w 2476"/>
                  <a:gd name="T51" fmla="*/ 590 h 1174"/>
                  <a:gd name="T52" fmla="*/ 655 w 2476"/>
                  <a:gd name="T53" fmla="*/ 587 h 1174"/>
                  <a:gd name="T54" fmla="*/ 1238 w 2476"/>
                  <a:gd name="T55" fmla="*/ 587 h 1174"/>
                  <a:gd name="T56" fmla="*/ 1238 w 2476"/>
                  <a:gd name="T57" fmla="*/ 329 h 1174"/>
                  <a:gd name="T58" fmla="*/ 1241 w 2476"/>
                  <a:gd name="T59" fmla="*/ 315 h 1174"/>
                  <a:gd name="T60" fmla="*/ 1249 w 2476"/>
                  <a:gd name="T61" fmla="*/ 304 h 1174"/>
                  <a:gd name="T62" fmla="*/ 1260 w 2476"/>
                  <a:gd name="T63" fmla="*/ 296 h 1174"/>
                  <a:gd name="T64" fmla="*/ 1274 w 2476"/>
                  <a:gd name="T65" fmla="*/ 293 h 1174"/>
                  <a:gd name="T66" fmla="*/ 1857 w 2476"/>
                  <a:gd name="T67" fmla="*/ 293 h 1174"/>
                  <a:gd name="T68" fmla="*/ 1857 w 2476"/>
                  <a:gd name="T69" fmla="*/ 35 h 1174"/>
                  <a:gd name="T70" fmla="*/ 1860 w 2476"/>
                  <a:gd name="T71" fmla="*/ 22 h 1174"/>
                  <a:gd name="T72" fmla="*/ 1868 w 2476"/>
                  <a:gd name="T73" fmla="*/ 10 h 1174"/>
                  <a:gd name="T74" fmla="*/ 1879 w 2476"/>
                  <a:gd name="T75" fmla="*/ 3 h 1174"/>
                  <a:gd name="T76" fmla="*/ 1893 w 2476"/>
                  <a:gd name="T77" fmla="*/ 0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76" h="1174">
                    <a:moveTo>
                      <a:pt x="1893" y="0"/>
                    </a:moveTo>
                    <a:lnTo>
                      <a:pt x="2441" y="0"/>
                    </a:lnTo>
                    <a:lnTo>
                      <a:pt x="2454" y="3"/>
                    </a:lnTo>
                    <a:lnTo>
                      <a:pt x="2466" y="10"/>
                    </a:lnTo>
                    <a:lnTo>
                      <a:pt x="2473" y="22"/>
                    </a:lnTo>
                    <a:lnTo>
                      <a:pt x="2476" y="35"/>
                    </a:lnTo>
                    <a:lnTo>
                      <a:pt x="2476" y="1139"/>
                    </a:lnTo>
                    <a:lnTo>
                      <a:pt x="2473" y="1152"/>
                    </a:lnTo>
                    <a:lnTo>
                      <a:pt x="2466" y="1164"/>
                    </a:lnTo>
                    <a:lnTo>
                      <a:pt x="2454" y="1171"/>
                    </a:lnTo>
                    <a:lnTo>
                      <a:pt x="2441" y="1174"/>
                    </a:lnTo>
                    <a:lnTo>
                      <a:pt x="35" y="1174"/>
                    </a:lnTo>
                    <a:lnTo>
                      <a:pt x="21" y="1171"/>
                    </a:lnTo>
                    <a:lnTo>
                      <a:pt x="10" y="1164"/>
                    </a:lnTo>
                    <a:lnTo>
                      <a:pt x="3" y="1152"/>
                    </a:lnTo>
                    <a:lnTo>
                      <a:pt x="0" y="1139"/>
                    </a:lnTo>
                    <a:lnTo>
                      <a:pt x="0" y="916"/>
                    </a:lnTo>
                    <a:lnTo>
                      <a:pt x="3" y="902"/>
                    </a:lnTo>
                    <a:lnTo>
                      <a:pt x="10" y="891"/>
                    </a:lnTo>
                    <a:lnTo>
                      <a:pt x="21" y="883"/>
                    </a:lnTo>
                    <a:lnTo>
                      <a:pt x="35" y="881"/>
                    </a:lnTo>
                    <a:lnTo>
                      <a:pt x="619" y="881"/>
                    </a:lnTo>
                    <a:lnTo>
                      <a:pt x="619" y="622"/>
                    </a:lnTo>
                    <a:lnTo>
                      <a:pt x="621" y="609"/>
                    </a:lnTo>
                    <a:lnTo>
                      <a:pt x="630" y="597"/>
                    </a:lnTo>
                    <a:lnTo>
                      <a:pt x="641" y="590"/>
                    </a:lnTo>
                    <a:lnTo>
                      <a:pt x="655" y="587"/>
                    </a:lnTo>
                    <a:lnTo>
                      <a:pt x="1238" y="587"/>
                    </a:lnTo>
                    <a:lnTo>
                      <a:pt x="1238" y="329"/>
                    </a:lnTo>
                    <a:lnTo>
                      <a:pt x="1241" y="315"/>
                    </a:lnTo>
                    <a:lnTo>
                      <a:pt x="1249" y="304"/>
                    </a:lnTo>
                    <a:lnTo>
                      <a:pt x="1260" y="296"/>
                    </a:lnTo>
                    <a:lnTo>
                      <a:pt x="1274" y="293"/>
                    </a:lnTo>
                    <a:lnTo>
                      <a:pt x="1857" y="293"/>
                    </a:lnTo>
                    <a:lnTo>
                      <a:pt x="1857" y="35"/>
                    </a:lnTo>
                    <a:lnTo>
                      <a:pt x="1860" y="22"/>
                    </a:lnTo>
                    <a:lnTo>
                      <a:pt x="1868" y="10"/>
                    </a:lnTo>
                    <a:lnTo>
                      <a:pt x="1879" y="3"/>
                    </a:lnTo>
                    <a:lnTo>
                      <a:pt x="18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599634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A7535F52-4CBE-E170-C5C2-52C518A37A93}"/>
              </a:ext>
            </a:extLst>
          </p:cNvPr>
          <p:cNvSpPr/>
          <p:nvPr/>
        </p:nvSpPr>
        <p:spPr>
          <a:xfrm>
            <a:off x="563972" y="1452240"/>
            <a:ext cx="4311875" cy="4311875"/>
          </a:xfrm>
          <a:prstGeom prst="ellipse">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93559A69-F753-8F80-EDD6-7D7E41E9F193}"/>
              </a:ext>
            </a:extLst>
          </p:cNvPr>
          <p:cNvSpPr/>
          <p:nvPr/>
        </p:nvSpPr>
        <p:spPr>
          <a:xfrm>
            <a:off x="0" y="0"/>
            <a:ext cx="4003829"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20" name="TextBox 19">
            <a:extLst>
              <a:ext uri="{FF2B5EF4-FFF2-40B4-BE49-F238E27FC236}">
                <a16:creationId xmlns:a16="http://schemas.microsoft.com/office/drawing/2014/main" id="{9D30D053-D0E9-44FB-8AE6-0F71A690D06D}"/>
              </a:ext>
            </a:extLst>
          </p:cNvPr>
          <p:cNvSpPr txBox="1"/>
          <p:nvPr/>
        </p:nvSpPr>
        <p:spPr>
          <a:xfrm>
            <a:off x="10459393" y="5610474"/>
            <a:ext cx="83505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Montserrat"/>
                <a:ea typeface="+mn-ea"/>
                <a:cs typeface="+mn-cs"/>
              </a:rPr>
              <a:t>Page </a:t>
            </a:r>
            <a:fld id="{31162368-E213-4388-85D6-4D6322C03159}" type="slidenum">
              <a:rPr kumimoji="0" lang="en-GB" sz="1100" b="1" i="0" u="none" strike="noStrike" kern="1200" cap="none" spc="0" normalizeH="0" baseline="0" noProof="0" smtClean="0">
                <a:ln>
                  <a:noFill/>
                </a:ln>
                <a:solidFill>
                  <a:srgbClr val="FFFFFF"/>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D" sz="1100" b="1" i="0" u="none" strike="noStrike" kern="1200" cap="none" spc="0" normalizeH="0" baseline="0" noProof="0">
              <a:ln>
                <a:noFill/>
              </a:ln>
              <a:solidFill>
                <a:srgbClr val="FFFFFF"/>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4722100" y="975187"/>
            <a:ext cx="709706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01619"/>
                </a:solidFill>
                <a:effectLst/>
                <a:uLnTx/>
                <a:uFillTx/>
                <a:latin typeface="Montserrat"/>
                <a:ea typeface="+mn-ea"/>
                <a:cs typeface="+mn-cs"/>
              </a:rPr>
              <a:t>ISO 20121 and the Sustainable</a:t>
            </a:r>
            <a:r>
              <a:rPr kumimoji="0" lang="en-US" sz="2800" b="1" i="0" u="none" strike="noStrike" kern="1200" cap="none" spc="0" normalizeH="0" noProof="0">
                <a:ln>
                  <a:noFill/>
                </a:ln>
                <a:solidFill>
                  <a:srgbClr val="801619"/>
                </a:solidFill>
                <a:effectLst/>
                <a:uLnTx/>
                <a:uFillTx/>
                <a:latin typeface="Montserrat"/>
                <a:ea typeface="+mn-ea"/>
                <a:cs typeface="+mn-cs"/>
              </a:rPr>
              <a:t> Development Goals</a:t>
            </a:r>
            <a:endParaRPr kumimoji="0" lang="en-ID" sz="2800" b="1" i="0" u="none" strike="noStrike" kern="1200" cap="none" spc="0" normalizeH="0" baseline="0" noProof="0">
              <a:ln>
                <a:noFill/>
              </a:ln>
              <a:solidFill>
                <a:srgbClr val="801619"/>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5069150" y="1929294"/>
            <a:ext cx="6031999" cy="825419"/>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r>
              <a:rPr lang="en-US" dirty="0">
                <a:solidFill>
                  <a:schemeClr val="tx1"/>
                </a:solidFill>
              </a:rPr>
              <a:t>ISO 20121 is directly linked to the UN Sustainability Development Goals (SDGs).  In particular, this standard is targeted at 11 of the 17 SDGs as follows:</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ontserrat"/>
              <a:cs typeface="+mn-cs"/>
            </a:endParaRP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pic>
        <p:nvPicPr>
          <p:cNvPr id="7" name="Picture 6">
            <a:extLst>
              <a:ext uri="{FF2B5EF4-FFF2-40B4-BE49-F238E27FC236}">
                <a16:creationId xmlns:a16="http://schemas.microsoft.com/office/drawing/2014/main" id="{AA43AD09-E3F4-3F8C-5C35-2DC6C690EC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841" y="1757338"/>
            <a:ext cx="5775668" cy="3708587"/>
          </a:xfrm>
          <a:prstGeom prst="rect">
            <a:avLst/>
          </a:prstGeom>
        </p:spPr>
      </p:pic>
      <p:sp>
        <p:nvSpPr>
          <p:cNvPr id="10" name="TextBox 9">
            <a:extLst>
              <a:ext uri="{FF2B5EF4-FFF2-40B4-BE49-F238E27FC236}">
                <a16:creationId xmlns:a16="http://schemas.microsoft.com/office/drawing/2014/main" id="{EE1CDB2C-E902-8952-021B-09DC804403C6}"/>
              </a:ext>
            </a:extLst>
          </p:cNvPr>
          <p:cNvSpPr txBox="1"/>
          <p:nvPr/>
        </p:nvSpPr>
        <p:spPr>
          <a:xfrm>
            <a:off x="5242714" y="2536777"/>
            <a:ext cx="6031999" cy="2856744"/>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r>
              <a:rPr lang="en-US" dirty="0">
                <a:solidFill>
                  <a:schemeClr val="tx1"/>
                </a:solidFill>
              </a:rPr>
              <a:t>3 – Good health and well-being</a:t>
            </a:r>
          </a:p>
          <a:p>
            <a:r>
              <a:rPr lang="en-US" dirty="0">
                <a:solidFill>
                  <a:schemeClr val="tx1"/>
                </a:solidFill>
              </a:rPr>
              <a:t>5 – Gender equality</a:t>
            </a:r>
          </a:p>
          <a:p>
            <a:r>
              <a:rPr lang="en-US" dirty="0">
                <a:solidFill>
                  <a:schemeClr val="tx1"/>
                </a:solidFill>
              </a:rPr>
              <a:t>6 – Clean water and sanitation</a:t>
            </a:r>
          </a:p>
          <a:p>
            <a:r>
              <a:rPr lang="en-US" dirty="0">
                <a:solidFill>
                  <a:schemeClr val="tx1"/>
                </a:solidFill>
              </a:rPr>
              <a:t>7 – Affordable and clean energy</a:t>
            </a:r>
          </a:p>
          <a:p>
            <a:r>
              <a:rPr lang="en-US" dirty="0">
                <a:solidFill>
                  <a:schemeClr val="tx1"/>
                </a:solidFill>
              </a:rPr>
              <a:t>8 – Decent work and economic growth</a:t>
            </a:r>
          </a:p>
          <a:p>
            <a:r>
              <a:rPr lang="en-US" dirty="0">
                <a:solidFill>
                  <a:schemeClr val="tx1"/>
                </a:solidFill>
              </a:rPr>
              <a:t>9 – Industry, innovation, and infrastructure</a:t>
            </a:r>
          </a:p>
          <a:p>
            <a:r>
              <a:rPr lang="en-US" dirty="0">
                <a:solidFill>
                  <a:schemeClr val="tx1"/>
                </a:solidFill>
              </a:rPr>
              <a:t>10 – Reduced inequalities</a:t>
            </a:r>
          </a:p>
          <a:p>
            <a:r>
              <a:rPr lang="en-US" dirty="0">
                <a:solidFill>
                  <a:schemeClr val="tx1"/>
                </a:solidFill>
              </a:rPr>
              <a:t>11 – Sustainable cities and communities</a:t>
            </a:r>
          </a:p>
          <a:p>
            <a:r>
              <a:rPr lang="en-US" dirty="0">
                <a:solidFill>
                  <a:schemeClr val="tx1"/>
                </a:solidFill>
              </a:rPr>
              <a:t>12 – Responsible consumption and production</a:t>
            </a:r>
          </a:p>
          <a:p>
            <a:r>
              <a:rPr lang="en-US" dirty="0">
                <a:solidFill>
                  <a:schemeClr val="tx1"/>
                </a:solidFill>
              </a:rPr>
              <a:t>13 – Climate action</a:t>
            </a:r>
          </a:p>
          <a:p>
            <a:r>
              <a:rPr lang="en-US" dirty="0">
                <a:solidFill>
                  <a:schemeClr val="tx1"/>
                </a:solidFill>
              </a:rPr>
              <a:t>16 – Peace, justice, and strong institutions</a:t>
            </a:r>
          </a:p>
        </p:txBody>
      </p:sp>
      <p:sp>
        <p:nvSpPr>
          <p:cNvPr id="11" name="TextBox 10">
            <a:extLst>
              <a:ext uri="{FF2B5EF4-FFF2-40B4-BE49-F238E27FC236}">
                <a16:creationId xmlns:a16="http://schemas.microsoft.com/office/drawing/2014/main" id="{DB5F3BAF-8783-56B0-00D2-413F4CDFE220}"/>
              </a:ext>
            </a:extLst>
          </p:cNvPr>
          <p:cNvSpPr txBox="1"/>
          <p:nvPr/>
        </p:nvSpPr>
        <p:spPr>
          <a:xfrm>
            <a:off x="5069150" y="5465925"/>
            <a:ext cx="6031999" cy="571503"/>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r>
              <a:rPr lang="en-US">
                <a:solidFill>
                  <a:schemeClr val="tx1"/>
                </a:solidFill>
              </a:rPr>
              <a:t>Implementing an ISO 20121 Management System will provide organizations with the tools to support many of these wide-ranging SDGs.</a:t>
            </a:r>
          </a:p>
        </p:txBody>
      </p:sp>
    </p:spTree>
    <p:extLst>
      <p:ext uri="{BB962C8B-B14F-4D97-AF65-F5344CB8AC3E}">
        <p14:creationId xmlns:p14="http://schemas.microsoft.com/office/powerpoint/2010/main" val="254587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20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200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1000"/>
                                        <p:tgtEl>
                                          <p:spTgt spid="11"/>
                                        </p:tgtEl>
                                      </p:cBhvr>
                                    </p:animEffect>
                                    <p:anim calcmode="lin" valueType="num">
                                      <p:cBhvr>
                                        <p:cTn id="21" dur="1000" fill="hold"/>
                                        <p:tgtEl>
                                          <p:spTgt spid="11"/>
                                        </p:tgtEl>
                                        <p:attrNameLst>
                                          <p:attrName>ppt_x</p:attrName>
                                        </p:attrNameLst>
                                      </p:cBhvr>
                                      <p:tavLst>
                                        <p:tav tm="0">
                                          <p:val>
                                            <p:strVal val="#ppt_x"/>
                                          </p:val>
                                        </p:tav>
                                        <p:tav tm="100000">
                                          <p:val>
                                            <p:strVal val="#ppt_x"/>
                                          </p:val>
                                        </p:tav>
                                      </p:tavLst>
                                    </p:anim>
                                    <p:anim calcmode="lin" valueType="num">
                                      <p:cBhvr>
                                        <p:cTn id="22"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3559A69-F753-8F80-EDD6-7D7E41E9F193}"/>
              </a:ext>
            </a:extLst>
          </p:cNvPr>
          <p:cNvSpPr/>
          <p:nvPr/>
        </p:nvSpPr>
        <p:spPr>
          <a:xfrm>
            <a:off x="0" y="0"/>
            <a:ext cx="12192000" cy="6858000"/>
          </a:xfrm>
          <a:prstGeom prst="rect">
            <a:avLst/>
          </a:prstGeom>
          <a:solidFill>
            <a:srgbClr val="8016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F4AB24F8-EC3D-478F-8745-D9D6564642EE}"/>
              </a:ext>
            </a:extLst>
          </p:cNvPr>
          <p:cNvSpPr txBox="1"/>
          <p:nvPr/>
        </p:nvSpPr>
        <p:spPr>
          <a:xfrm>
            <a:off x="873918" y="1836956"/>
            <a:ext cx="675001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chemeClr val="bg1"/>
                </a:solidFill>
                <a:effectLst/>
                <a:uLnTx/>
                <a:uFillTx/>
                <a:latin typeface="Montserrat"/>
                <a:ea typeface="+mn-ea"/>
                <a:cs typeface="+mn-cs"/>
              </a:rPr>
              <a:t>Relationship</a:t>
            </a:r>
            <a:r>
              <a:rPr kumimoji="0" lang="en-US" sz="2800" b="1" i="0" u="none" strike="noStrike" kern="1200" cap="none" spc="0" normalizeH="0" noProof="0">
                <a:ln>
                  <a:noFill/>
                </a:ln>
                <a:solidFill>
                  <a:schemeClr val="bg1"/>
                </a:solidFill>
                <a:effectLst/>
                <a:uLnTx/>
                <a:uFillTx/>
                <a:latin typeface="Montserrat"/>
                <a:ea typeface="+mn-ea"/>
                <a:cs typeface="+mn-cs"/>
              </a:rPr>
              <a:t> with other standards</a:t>
            </a:r>
            <a:endParaRPr kumimoji="0" lang="en-ID" sz="2800" b="1" i="0" u="none" strike="noStrike" kern="1200" cap="none" spc="0" normalizeH="0" baseline="0" noProof="0">
              <a:ln>
                <a:noFill/>
              </a:ln>
              <a:solidFill>
                <a:schemeClr val="bg1"/>
              </a:solidFill>
              <a:effectLst/>
              <a:uLnTx/>
              <a:uFillTx/>
              <a:latin typeface="Montserrat"/>
              <a:ea typeface="+mn-ea"/>
              <a:cs typeface="+mn-cs"/>
            </a:endParaRPr>
          </a:p>
        </p:txBody>
      </p:sp>
      <p:sp>
        <p:nvSpPr>
          <p:cNvPr id="2" name="TextBox 1">
            <a:extLst>
              <a:ext uri="{FF2B5EF4-FFF2-40B4-BE49-F238E27FC236}">
                <a16:creationId xmlns:a16="http://schemas.microsoft.com/office/drawing/2014/main" id="{AF6D40EB-1575-D5B9-2FBB-E378E32BC630}"/>
              </a:ext>
            </a:extLst>
          </p:cNvPr>
          <p:cNvSpPr txBox="1"/>
          <p:nvPr/>
        </p:nvSpPr>
        <p:spPr>
          <a:xfrm>
            <a:off x="873918" y="2535403"/>
            <a:ext cx="10420534" cy="2277098"/>
          </a:xfrm>
          <a:prstGeom prst="rect">
            <a:avLst/>
          </a:prstGeom>
          <a:noFill/>
        </p:spPr>
        <p:txBody>
          <a:bodyPr wrap="square">
            <a:spAutoFit/>
          </a:bodyPr>
          <a:lstStyle>
            <a:defPPr>
              <a:defRPr lang="en-US"/>
            </a:defPPr>
            <a:lvl1pPr algn="just">
              <a:lnSpc>
                <a:spcPct val="150000"/>
              </a:lnSpc>
              <a:defRPr sz="1100">
                <a:solidFill>
                  <a:schemeClr val="accent6"/>
                </a:solidFill>
                <a:ea typeface="Times New Roman" panose="02020603050405020304" pitchFamily="18" charset="0"/>
              </a:defRPr>
            </a:lvl1pPr>
          </a:lstStyle>
          <a:p>
            <a:pPr algn="l"/>
            <a:r>
              <a:rPr lang="en-US" sz="1200">
                <a:solidFill>
                  <a:schemeClr val="bg1"/>
                </a:solidFill>
              </a:rPr>
              <a:t>ISO 20121 is structured in the same way as many of the popular standards, such as ISO 9001 and ISO 14001. An ISO 20121 management system would be an ideal extension to other sustainability management systems, such as a wider Environmental Management System (based on ISO 14001). </a:t>
            </a:r>
          </a:p>
          <a:p>
            <a:pPr algn="l"/>
            <a:endParaRPr lang="en-US" sz="1200">
              <a:solidFill>
                <a:schemeClr val="bg1"/>
              </a:solidFill>
            </a:endParaRPr>
          </a:p>
          <a:p>
            <a:pPr algn="l"/>
            <a:r>
              <a:rPr lang="en-US" sz="1200">
                <a:solidFill>
                  <a:schemeClr val="bg1"/>
                </a:solidFill>
              </a:rPr>
              <a:t>Any organization with an existing Environmental Management System involved in events could easily extend its management system to achieve certification for both standards.</a:t>
            </a:r>
          </a:p>
          <a:p>
            <a:pPr algn="l"/>
            <a:endParaRPr lang="en-US" sz="1200">
              <a:solidFill>
                <a:schemeClr val="bg1"/>
              </a:solidFill>
            </a:endParaRPr>
          </a:p>
          <a:p>
            <a:pPr algn="l"/>
            <a:r>
              <a:rPr lang="en-US" sz="1200">
                <a:solidFill>
                  <a:schemeClr val="bg1"/>
                </a:solidFill>
              </a:rPr>
              <a:t>It is also compatible with non-ISO frameworks such as Planet Mark or Certified B Corporation.</a:t>
            </a:r>
          </a:p>
        </p:txBody>
      </p:sp>
      <p:pic>
        <p:nvPicPr>
          <p:cNvPr id="3" name="Graphic 2">
            <a:extLst>
              <a:ext uri="{FF2B5EF4-FFF2-40B4-BE49-F238E27FC236}">
                <a16:creationId xmlns:a16="http://schemas.microsoft.com/office/drawing/2014/main" id="{100AED8D-94E4-424F-D6BD-813E9FBC91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918" y="353186"/>
            <a:ext cx="988221" cy="197644"/>
          </a:xfrm>
          <a:prstGeom prst="rect">
            <a:avLst/>
          </a:prstGeom>
        </p:spPr>
      </p:pic>
      <p:sp>
        <p:nvSpPr>
          <p:cNvPr id="4" name="TextBox 3">
            <a:extLst>
              <a:ext uri="{FF2B5EF4-FFF2-40B4-BE49-F238E27FC236}">
                <a16:creationId xmlns:a16="http://schemas.microsoft.com/office/drawing/2014/main" id="{5721320D-C745-32B9-A7E1-B02EA07A6091}"/>
              </a:ext>
            </a:extLst>
          </p:cNvPr>
          <p:cNvSpPr txBox="1"/>
          <p:nvPr/>
        </p:nvSpPr>
        <p:spPr>
          <a:xfrm>
            <a:off x="10008067" y="315767"/>
            <a:ext cx="1466500" cy="246221"/>
          </a:xfrm>
          <a:prstGeom prst="rect">
            <a:avLst/>
          </a:prstGeom>
          <a:noFill/>
        </p:spPr>
        <p:txBody>
          <a:bodyPr wrap="square" rtlCol="0">
            <a:spAutoFit/>
          </a:bodyPr>
          <a:lstStyle/>
          <a:p>
            <a:pPr algn="r"/>
            <a:r>
              <a:rPr lang="en-GB" sz="1000" b="1">
                <a:solidFill>
                  <a:schemeClr val="bg1"/>
                </a:solidFill>
                <a:latin typeface="Montserrat" panose="00000500000000000000" pitchFamily="2" charset="0"/>
              </a:rPr>
              <a:t>MSECB Webinar</a:t>
            </a:r>
            <a:endParaRPr lang="en-ID" sz="1000" b="1">
              <a:solidFill>
                <a:schemeClr val="bg1"/>
              </a:solidFill>
              <a:latin typeface="Montserrat" panose="00000500000000000000" pitchFamily="2" charset="0"/>
            </a:endParaRPr>
          </a:p>
        </p:txBody>
      </p:sp>
      <p:sp>
        <p:nvSpPr>
          <p:cNvPr id="6" name="Circle: Hollow 5">
            <a:extLst>
              <a:ext uri="{FF2B5EF4-FFF2-40B4-BE49-F238E27FC236}">
                <a16:creationId xmlns:a16="http://schemas.microsoft.com/office/drawing/2014/main" id="{111D6403-28C4-FB4E-DA9F-6A578E0242FE}"/>
              </a:ext>
            </a:extLst>
          </p:cNvPr>
          <p:cNvSpPr/>
          <p:nvPr/>
        </p:nvSpPr>
        <p:spPr>
          <a:xfrm>
            <a:off x="10091933" y="369197"/>
            <a:ext cx="130628" cy="130628"/>
          </a:xfrm>
          <a:prstGeom prst="donut">
            <a:avLst>
              <a:gd name="adj" fmla="val 219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tx1"/>
              </a:solidFill>
            </a:endParaRPr>
          </a:p>
        </p:txBody>
      </p:sp>
    </p:spTree>
    <p:extLst>
      <p:ext uri="{BB962C8B-B14F-4D97-AF65-F5344CB8AC3E}">
        <p14:creationId xmlns:p14="http://schemas.microsoft.com/office/powerpoint/2010/main" val="2702405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in)">
                                      <p:cBhvr>
                                        <p:cTn id="7" dur="2000"/>
                                        <p:tgtEl>
                                          <p:spTgt spid="12"/>
                                        </p:tgtEl>
                                      </p:cBhvr>
                                    </p:animEffect>
                                  </p:childTnLst>
                                </p:cTn>
                              </p:par>
                              <p:par>
                                <p:cTn id="8" presetID="42" presetClass="entr" presetSubtype="0" fill="hold" grpId="0" nodeType="withEffect">
                                  <p:stCondLst>
                                    <p:cond delay="200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1000"/>
                                        <p:tgtEl>
                                          <p:spTgt spid="2"/>
                                        </p:tgtEl>
                                      </p:cBhvr>
                                    </p:animEffect>
                                    <p:anim calcmode="lin" valueType="num">
                                      <p:cBhvr>
                                        <p:cTn id="11" dur="1000" fill="hold"/>
                                        <p:tgtEl>
                                          <p:spTgt spid="2"/>
                                        </p:tgtEl>
                                        <p:attrNameLst>
                                          <p:attrName>ppt_x</p:attrName>
                                        </p:attrNameLst>
                                      </p:cBhvr>
                                      <p:tavLst>
                                        <p:tav tm="0">
                                          <p:val>
                                            <p:strVal val="#ppt_x"/>
                                          </p:val>
                                        </p:tav>
                                        <p:tav tm="100000">
                                          <p:val>
                                            <p:strVal val="#ppt_x"/>
                                          </p:val>
                                        </p:tav>
                                      </p:tavLst>
                                    </p:anim>
                                    <p:anim calcmode="lin" valueType="num">
                                      <p:cBhvr>
                                        <p:cTn id="1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Scc9_w_SbUGmcjMDbOv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8T.qXM56yUmTKlzNupVf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1ie_7RBraEm.oCvY.nix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i8hGDp9RIESvulWDCMUy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e0jEgzZ0SKUyl0BEjt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1rFaYPYQZk.qk5KIRSwXGg"/>
</p:tagLst>
</file>

<file path=ppt/tags/tag2.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NUM" val="6"/>
</p:tagLst>
</file>

<file path=ppt/tags/tag4.xml><?xml version="1.0" encoding="utf-8"?>
<p:tagLst xmlns:a="http://schemas.openxmlformats.org/drawingml/2006/main" xmlns:r="http://schemas.openxmlformats.org/officeDocument/2006/relationships" xmlns:p="http://schemas.openxmlformats.org/presentationml/2006/main">
  <p:tag name="NUM" val="7"/>
</p:tagLst>
</file>

<file path=ppt/tags/tag5.xml><?xml version="1.0" encoding="utf-8"?>
<p:tagLst xmlns:a="http://schemas.openxmlformats.org/drawingml/2006/main" xmlns:r="http://schemas.openxmlformats.org/officeDocument/2006/relationships" xmlns:p="http://schemas.openxmlformats.org/presentationml/2006/main">
  <p:tag name="NUM" val="8"/>
</p:tagLst>
</file>

<file path=ppt/tags/tag6.xml><?xml version="1.0" encoding="utf-8"?>
<p:tagLst xmlns:a="http://schemas.openxmlformats.org/drawingml/2006/main" xmlns:r="http://schemas.openxmlformats.org/officeDocument/2006/relationships" xmlns:p="http://schemas.openxmlformats.org/presentationml/2006/main">
  <p:tag name="NUM" val="9"/>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Office Theme">
  <a:themeElements>
    <a:clrScheme name="Custom 2">
      <a:dk1>
        <a:srgbClr val="1F1F1F"/>
      </a:dk1>
      <a:lt1>
        <a:sysClr val="window" lastClr="FFFFFF"/>
      </a:lt1>
      <a:dk2>
        <a:srgbClr val="595959"/>
      </a:dk2>
      <a:lt2>
        <a:srgbClr val="E7E6E6"/>
      </a:lt2>
      <a:accent1>
        <a:srgbClr val="801619"/>
      </a:accent1>
      <a:accent2>
        <a:srgbClr val="801619"/>
      </a:accent2>
      <a:accent3>
        <a:srgbClr val="DC0000"/>
      </a:accent3>
      <a:accent4>
        <a:srgbClr val="EA0000"/>
      </a:accent4>
      <a:accent5>
        <a:srgbClr val="FFFFFF"/>
      </a:accent5>
      <a:accent6>
        <a:srgbClr val="7F7F7F"/>
      </a:accent6>
      <a:hlink>
        <a:srgbClr val="FFFFFF"/>
      </a:hlink>
      <a:folHlink>
        <a:srgbClr val="954F72"/>
      </a:folHlink>
    </a:clrScheme>
    <a:fontScheme name="Montserrat">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12EAE"/>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1896D90AEBCFB44B6E9314CC151BAD3" ma:contentTypeVersion="17" ma:contentTypeDescription="Create a new document." ma:contentTypeScope="" ma:versionID="b4e6d8b1ac3d2fff9f29ad2c9605cc7e">
  <xsd:schema xmlns:xsd="http://www.w3.org/2001/XMLSchema" xmlns:xs="http://www.w3.org/2001/XMLSchema" xmlns:p="http://schemas.microsoft.com/office/2006/metadata/properties" xmlns:ns2="3b87b88a-1e62-456f-ae7e-699d548a3c2c" xmlns:ns3="1e1135d7-343a-4ce4-94fc-b1256ba12def" targetNamespace="http://schemas.microsoft.com/office/2006/metadata/properties" ma:root="true" ma:fieldsID="7423454051f621bb9df136bf7355dfcb" ns2:_="" ns3:_="">
    <xsd:import namespace="3b87b88a-1e62-456f-ae7e-699d548a3c2c"/>
    <xsd:import namespace="1e1135d7-343a-4ce4-94fc-b1256ba12de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87b88a-1e62-456f-ae7e-699d548a3c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5750f88-107f-4883-9e79-6f92cba9f0e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1135d7-343a-4ce4-94fc-b1256ba12def"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72e5dc4-aa21-4222-bdd9-9a7238b43867}" ma:internalName="TaxCatchAll" ma:showField="CatchAllData" ma:web="1e1135d7-343a-4ce4-94fc-b1256ba12de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ACB575-31AE-4749-B3EF-36353BCAF3AE}">
  <ds:schemaRefs>
    <ds:schemaRef ds:uri="http://schemas.microsoft.com/sharepoint/v3/contenttype/forms"/>
  </ds:schemaRefs>
</ds:datastoreItem>
</file>

<file path=customXml/itemProps2.xml><?xml version="1.0" encoding="utf-8"?>
<ds:datastoreItem xmlns:ds="http://schemas.openxmlformats.org/officeDocument/2006/customXml" ds:itemID="{1B16BBBD-7265-43E9-AB27-4367D776B596}">
  <ds:schemaRefs>
    <ds:schemaRef ds:uri="1e1135d7-343a-4ce4-94fc-b1256ba12def"/>
    <ds:schemaRef ds:uri="3b87b88a-1e62-456f-ae7e-699d548a3c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4</TotalTime>
  <Words>1777</Words>
  <Application>Microsoft Office PowerPoint</Application>
  <PresentationFormat>Widescreen</PresentationFormat>
  <Paragraphs>250</Paragraphs>
  <Slides>30</Slides>
  <Notes>1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0</vt:i4>
      </vt:variant>
    </vt:vector>
  </HeadingPairs>
  <TitlesOfParts>
    <vt:vector size="36" baseType="lpstr">
      <vt:lpstr>Arial</vt:lpstr>
      <vt:lpstr>Calibri</vt:lpstr>
      <vt:lpstr>Montserrat</vt:lpstr>
      <vt:lpstr>Poppins</vt:lpstr>
      <vt:lpstr>Wingdings</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US90</dc:creator>
  <cp:lastModifiedBy>Florent Ferizaj</cp:lastModifiedBy>
  <cp:revision>2</cp:revision>
  <dcterms:created xsi:type="dcterms:W3CDTF">2021-04-26T07:19:48Z</dcterms:created>
  <dcterms:modified xsi:type="dcterms:W3CDTF">2023-10-31T10:20:24Z</dcterms:modified>
</cp:coreProperties>
</file>